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281" r:id="rId2"/>
    <p:sldId id="282" r:id="rId3"/>
    <p:sldId id="289" r:id="rId4"/>
    <p:sldId id="297" r:id="rId5"/>
    <p:sldId id="283" r:id="rId6"/>
    <p:sldId id="1481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09" autoAdjust="0"/>
    <p:restoredTop sz="94660"/>
  </p:normalViewPr>
  <p:slideViewPr>
    <p:cSldViewPr snapToObjects="1" showGuides="1">
      <p:cViewPr varScale="1">
        <p:scale>
          <a:sx n="124" d="100"/>
          <a:sy n="124" d="100"/>
        </p:scale>
        <p:origin x="272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281835886800297E-2"/>
          <c:y val="7.7404884986734493E-2"/>
          <c:w val="0.93732972545416737"/>
          <c:h val="0.65464520496985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1</c:v>
                </c:pt>
                <c:pt idx="1">
                  <c:v>Kat2</c:v>
                </c:pt>
                <c:pt idx="2">
                  <c:v>Kat3</c:v>
                </c:pt>
                <c:pt idx="3">
                  <c:v>Kat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AF-405B-906F-403E12A869B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1</c:v>
                </c:pt>
                <c:pt idx="1">
                  <c:v>Kat2</c:v>
                </c:pt>
                <c:pt idx="2">
                  <c:v>Kat3</c:v>
                </c:pt>
                <c:pt idx="3">
                  <c:v>Kat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AF-405B-906F-403E12A869B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1</c:v>
                </c:pt>
                <c:pt idx="1">
                  <c:v>Kat2</c:v>
                </c:pt>
                <c:pt idx="2">
                  <c:v>Kat3</c:v>
                </c:pt>
                <c:pt idx="3">
                  <c:v>Kat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AF-405B-906F-403E12A869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0332967"/>
        <c:axId val="1130333951"/>
      </c:barChart>
      <c:catAx>
        <c:axId val="1130332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30333951"/>
        <c:crosses val="autoZero"/>
        <c:auto val="1"/>
        <c:lblAlgn val="ctr"/>
        <c:lblOffset val="100"/>
        <c:noMultiLvlLbl val="0"/>
      </c:catAx>
      <c:valAx>
        <c:axId val="11303339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30332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739057143791074"/>
          <c:y val="0.77726539208446155"/>
          <c:w val="0.32521850564527838"/>
          <c:h val="0.208984461880109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7AC22-2473-4822-8440-20C44103A4D4}" type="datetimeFigureOut">
              <a:rPr lang="de-DE" smtClean="0">
                <a:latin typeface="Univers LT Std 47 Cn Lt" panose="020B0406020202040204" pitchFamily="34" charset="0"/>
              </a:rPr>
              <a:t>21.05.24</a:t>
            </a:fld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13673B-28EA-47AF-BDB9-C168888C00E1}" type="slidenum">
              <a:rPr lang="de-DE" smtClean="0">
                <a:latin typeface="Univers LT Std 47 Cn Lt" panose="020B0406020202040204" pitchFamily="34" charset="0"/>
              </a:rPr>
              <a:t>‹Nr.›</a:t>
            </a:fld>
            <a:endParaRPr lang="de-DE"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529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vers LT Std 47 Cn Lt" panose="020B0406020202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8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338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631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654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BF8A8-E12E-40AD-A1E9-9BB54D1E62C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 panose="020B0406020202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140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Univers LT Std 47 Cn Lt" panose="020B040602020204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A92E3-2001-4AE8-AA11-EF7D81CDE679}" type="slidenum">
              <a:rPr lang="de-DE" smtClean="0">
                <a:latin typeface="Univers LT Std 47 Cn Lt" panose="020B0406020202040204" pitchFamily="34" charset="0"/>
              </a:rPr>
              <a:t>6</a:t>
            </a:fld>
            <a:endParaRPr lang="de-DE" dirty="0">
              <a:latin typeface="Univers LT Std 47 Cn Lt" panose="020B04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140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800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484748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218443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7289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934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39D42E-1DB5-3A27-9D06-99BD7223272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56C0499-7BD3-A09F-D740-3897CF9C76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0292FAA8-CAE7-C1D1-D8BF-810B8EBCB5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27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dunke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56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08F56A-7683-5FD0-4D23-8B19A75D903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2B84DB-28EA-2176-23E8-4DF59CF49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596A53-5C95-BE65-05CB-F6E0B4D511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795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hel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52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20">
            <a:extLst>
              <a:ext uri="{FF2B5EF4-FFF2-40B4-BE49-F238E27FC236}">
                <a16:creationId xmlns:a16="http://schemas.microsoft.com/office/drawing/2014/main" id="{820B71A9-9D4D-2A5F-3BE6-E5F95FDBE5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5F27386-BA96-7388-2058-DB06ABFF70C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22B2CF-40C1-7682-8CA4-82037A85B6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9C05721-C1B5-76E5-9D81-21D6463194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66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dunke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25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1C50924-ADD8-0782-E94B-CA2DE16928F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C3691F-6171-A6F0-3496-7841C4C7CAA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10815D-E71C-B6C9-FFF9-0687F27F88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285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hel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493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33354-6B0F-32D1-6B95-72F2628DC1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69F6B5-CA56-1F9E-32D1-05290C3675B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CA8B1B-DC32-17F0-EBDA-08B427CCA1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9BAF54-056F-ED4E-E5AC-38AE3E1FBF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1599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9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484748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218443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E5115A5B-63BD-A241-938F-35F3A756874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08768" y="4944978"/>
            <a:ext cx="3186616" cy="499651"/>
          </a:xfrm>
          <a:prstGeom prst="rect">
            <a:avLst/>
          </a:prstGeom>
        </p:spPr>
        <p:txBody>
          <a:bodyPr vert="horz" wrap="square" lIns="0" tIns="2545" rIns="0" bIns="0" rtlCol="0">
            <a:spAutoFit/>
          </a:bodyPr>
          <a:lstStyle/>
          <a:p>
            <a:pPr marL="12724" marR="5090">
              <a:lnSpc>
                <a:spcPct val="104200"/>
              </a:lnSpc>
              <a:spcBef>
                <a:spcPts val="20"/>
              </a:spcBef>
            </a:pPr>
            <a:r>
              <a:rPr sz="1603" spc="0" dirty="0">
                <a:solidFill>
                  <a:srgbClr val="FFFFFF"/>
                </a:solidFill>
                <a:latin typeface="+mn-lt"/>
                <a:cs typeface="Trebuchet MS"/>
              </a:rPr>
              <a:t>Mehr Infos und aktuelle Termine finden Sie unter dallmer.de/sessions</a:t>
            </a:r>
            <a:endParaRPr sz="1603" spc="0">
              <a:latin typeface="+mn-lt"/>
              <a:cs typeface="Trebuchet M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26244F1C-8DBD-3E4B-62A6-374ABBA6A7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21491" y="4438808"/>
            <a:ext cx="1214464" cy="0"/>
          </a:xfrm>
          <a:custGeom>
            <a:avLst/>
            <a:gdLst/>
            <a:ahLst/>
            <a:cxnLst/>
            <a:rect l="l" t="t" r="r" b="b"/>
            <a:pathLst>
              <a:path w="1212214">
                <a:moveTo>
                  <a:pt x="0" y="0"/>
                </a:moveTo>
                <a:lnTo>
                  <a:pt x="121206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pc="0">
              <a:latin typeface="+mn-lt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83798B02-A958-4EFA-3C37-226E92B7F810}"/>
              </a:ext>
            </a:extLst>
          </p:cNvPr>
          <p:cNvGrpSpPr/>
          <p:nvPr userDrawn="1"/>
        </p:nvGrpSpPr>
        <p:grpSpPr>
          <a:xfrm>
            <a:off x="4965969" y="4435637"/>
            <a:ext cx="986076" cy="986076"/>
            <a:chOff x="4968062" y="4427423"/>
            <a:chExt cx="984250" cy="98425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590B1813-1A3C-2AC8-EF50-E52CCC7069B9}"/>
                </a:ext>
              </a:extLst>
            </p:cNvPr>
            <p:cNvSpPr/>
            <p:nvPr/>
          </p:nvSpPr>
          <p:spPr>
            <a:xfrm>
              <a:off x="4968062" y="4427423"/>
              <a:ext cx="984250" cy="984250"/>
            </a:xfrm>
            <a:custGeom>
              <a:avLst/>
              <a:gdLst/>
              <a:ahLst/>
              <a:cxnLst/>
              <a:rect l="l" t="t" r="r" b="b"/>
              <a:pathLst>
                <a:path w="984250" h="984250">
                  <a:moveTo>
                    <a:pt x="983996" y="0"/>
                  </a:moveTo>
                  <a:lnTo>
                    <a:pt x="0" y="0"/>
                  </a:lnTo>
                  <a:lnTo>
                    <a:pt x="0" y="983995"/>
                  </a:lnTo>
                  <a:lnTo>
                    <a:pt x="983996" y="983995"/>
                  </a:lnTo>
                  <a:lnTo>
                    <a:pt x="9839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96C11330-9411-4D4A-8C7C-B6079919A751}"/>
                </a:ext>
              </a:extLst>
            </p:cNvPr>
            <p:cNvSpPr/>
            <p:nvPr/>
          </p:nvSpPr>
          <p:spPr>
            <a:xfrm>
              <a:off x="5074437" y="4533785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93" y="452120"/>
                  </a:moveTo>
                  <a:lnTo>
                    <a:pt x="0" y="452120"/>
                  </a:lnTo>
                  <a:lnTo>
                    <a:pt x="0" y="558495"/>
                  </a:lnTo>
                  <a:lnTo>
                    <a:pt x="26593" y="558495"/>
                  </a:lnTo>
                  <a:lnTo>
                    <a:pt x="26593" y="452120"/>
                  </a:lnTo>
                  <a:close/>
                </a:path>
                <a:path w="160020" h="771525">
                  <a:moveTo>
                    <a:pt x="26593" y="212763"/>
                  </a:moveTo>
                  <a:lnTo>
                    <a:pt x="0" y="212763"/>
                  </a:lnTo>
                  <a:lnTo>
                    <a:pt x="0" y="239356"/>
                  </a:lnTo>
                  <a:lnTo>
                    <a:pt x="26593" y="239356"/>
                  </a:lnTo>
                  <a:lnTo>
                    <a:pt x="26593" y="212763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25"/>
                  </a:moveTo>
                  <a:lnTo>
                    <a:pt x="26593" y="372325"/>
                  </a:lnTo>
                  <a:lnTo>
                    <a:pt x="26593" y="398919"/>
                  </a:lnTo>
                  <a:lnTo>
                    <a:pt x="53187" y="398919"/>
                  </a:lnTo>
                  <a:lnTo>
                    <a:pt x="53187" y="372325"/>
                  </a:lnTo>
                  <a:close/>
                </a:path>
                <a:path w="160020" h="771525">
                  <a:moveTo>
                    <a:pt x="53187" y="239356"/>
                  </a:moveTo>
                  <a:lnTo>
                    <a:pt x="26593" y="239356"/>
                  </a:lnTo>
                  <a:lnTo>
                    <a:pt x="26593" y="265950"/>
                  </a:lnTo>
                  <a:lnTo>
                    <a:pt x="53187" y="265950"/>
                  </a:lnTo>
                  <a:lnTo>
                    <a:pt x="53187" y="239356"/>
                  </a:lnTo>
                  <a:close/>
                </a:path>
                <a:path w="160020" h="771525">
                  <a:moveTo>
                    <a:pt x="132969" y="638276"/>
                  </a:moveTo>
                  <a:lnTo>
                    <a:pt x="106375" y="638276"/>
                  </a:lnTo>
                  <a:lnTo>
                    <a:pt x="79781" y="638276"/>
                  </a:lnTo>
                  <a:lnTo>
                    <a:pt x="53187" y="638276"/>
                  </a:lnTo>
                  <a:lnTo>
                    <a:pt x="53187" y="718058"/>
                  </a:lnTo>
                  <a:lnTo>
                    <a:pt x="79781" y="718058"/>
                  </a:lnTo>
                  <a:lnTo>
                    <a:pt x="106375" y="718058"/>
                  </a:lnTo>
                  <a:lnTo>
                    <a:pt x="132969" y="718058"/>
                  </a:lnTo>
                  <a:lnTo>
                    <a:pt x="132969" y="638276"/>
                  </a:lnTo>
                  <a:close/>
                </a:path>
                <a:path w="160020" h="771525">
                  <a:moveTo>
                    <a:pt x="132969" y="53200"/>
                  </a:moveTo>
                  <a:lnTo>
                    <a:pt x="106375" y="53200"/>
                  </a:lnTo>
                  <a:lnTo>
                    <a:pt x="79781" y="53200"/>
                  </a:lnTo>
                  <a:lnTo>
                    <a:pt x="53187" y="53200"/>
                  </a:lnTo>
                  <a:lnTo>
                    <a:pt x="53187" y="106387"/>
                  </a:lnTo>
                  <a:lnTo>
                    <a:pt x="53187" y="132981"/>
                  </a:lnTo>
                  <a:lnTo>
                    <a:pt x="79781" y="132981"/>
                  </a:lnTo>
                  <a:lnTo>
                    <a:pt x="106375" y="132981"/>
                  </a:lnTo>
                  <a:lnTo>
                    <a:pt x="132969" y="132981"/>
                  </a:lnTo>
                  <a:lnTo>
                    <a:pt x="132969" y="106387"/>
                  </a:lnTo>
                  <a:lnTo>
                    <a:pt x="132969" y="53200"/>
                  </a:lnTo>
                  <a:close/>
                </a:path>
                <a:path w="160020" h="771525">
                  <a:moveTo>
                    <a:pt x="159562" y="585089"/>
                  </a:moveTo>
                  <a:lnTo>
                    <a:pt x="159562" y="585089"/>
                  </a:lnTo>
                  <a:lnTo>
                    <a:pt x="0" y="585089"/>
                  </a:lnTo>
                  <a:lnTo>
                    <a:pt x="0" y="771258"/>
                  </a:lnTo>
                  <a:lnTo>
                    <a:pt x="26593" y="771258"/>
                  </a:lnTo>
                  <a:lnTo>
                    <a:pt x="53187" y="771245"/>
                  </a:lnTo>
                  <a:lnTo>
                    <a:pt x="79781" y="771245"/>
                  </a:lnTo>
                  <a:lnTo>
                    <a:pt x="106375" y="771245"/>
                  </a:lnTo>
                  <a:lnTo>
                    <a:pt x="132969" y="771245"/>
                  </a:lnTo>
                  <a:lnTo>
                    <a:pt x="159562" y="771245"/>
                  </a:lnTo>
                  <a:lnTo>
                    <a:pt x="159562" y="744651"/>
                  </a:lnTo>
                  <a:lnTo>
                    <a:pt x="26593" y="744651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89"/>
                  </a:lnTo>
                  <a:close/>
                </a:path>
                <a:path w="160020" h="771525">
                  <a:moveTo>
                    <a:pt x="159562" y="292544"/>
                  </a:moveTo>
                  <a:lnTo>
                    <a:pt x="132969" y="292544"/>
                  </a:lnTo>
                  <a:lnTo>
                    <a:pt x="132969" y="319138"/>
                  </a:lnTo>
                  <a:lnTo>
                    <a:pt x="106375" y="319138"/>
                  </a:lnTo>
                  <a:lnTo>
                    <a:pt x="106375" y="292544"/>
                  </a:lnTo>
                  <a:lnTo>
                    <a:pt x="132969" y="292544"/>
                  </a:lnTo>
                  <a:lnTo>
                    <a:pt x="132969" y="265950"/>
                  </a:lnTo>
                  <a:lnTo>
                    <a:pt x="106375" y="265950"/>
                  </a:lnTo>
                  <a:lnTo>
                    <a:pt x="79781" y="265950"/>
                  </a:lnTo>
                  <a:lnTo>
                    <a:pt x="53187" y="265950"/>
                  </a:lnTo>
                  <a:lnTo>
                    <a:pt x="53187" y="292544"/>
                  </a:lnTo>
                  <a:lnTo>
                    <a:pt x="26593" y="292544"/>
                  </a:lnTo>
                  <a:lnTo>
                    <a:pt x="26593" y="265950"/>
                  </a:lnTo>
                  <a:lnTo>
                    <a:pt x="0" y="265950"/>
                  </a:lnTo>
                  <a:lnTo>
                    <a:pt x="0" y="372325"/>
                  </a:lnTo>
                  <a:lnTo>
                    <a:pt x="26593" y="372325"/>
                  </a:lnTo>
                  <a:lnTo>
                    <a:pt x="26593" y="319138"/>
                  </a:lnTo>
                  <a:lnTo>
                    <a:pt x="53187" y="319138"/>
                  </a:lnTo>
                  <a:lnTo>
                    <a:pt x="53187" y="372325"/>
                  </a:lnTo>
                  <a:lnTo>
                    <a:pt x="79781" y="372325"/>
                  </a:lnTo>
                  <a:lnTo>
                    <a:pt x="79781" y="345732"/>
                  </a:lnTo>
                  <a:lnTo>
                    <a:pt x="106375" y="345732"/>
                  </a:lnTo>
                  <a:lnTo>
                    <a:pt x="106375" y="398932"/>
                  </a:lnTo>
                  <a:lnTo>
                    <a:pt x="132969" y="398932"/>
                  </a:lnTo>
                  <a:lnTo>
                    <a:pt x="132969" y="478713"/>
                  </a:lnTo>
                  <a:lnTo>
                    <a:pt x="106375" y="478713"/>
                  </a:lnTo>
                  <a:lnTo>
                    <a:pt x="106375" y="505307"/>
                  </a:lnTo>
                  <a:lnTo>
                    <a:pt x="79781" y="505307"/>
                  </a:lnTo>
                  <a:lnTo>
                    <a:pt x="79781" y="531901"/>
                  </a:lnTo>
                  <a:lnTo>
                    <a:pt x="106375" y="531901"/>
                  </a:lnTo>
                  <a:lnTo>
                    <a:pt x="132969" y="531901"/>
                  </a:lnTo>
                  <a:lnTo>
                    <a:pt x="132969" y="505294"/>
                  </a:lnTo>
                  <a:lnTo>
                    <a:pt x="159562" y="505294"/>
                  </a:lnTo>
                  <a:lnTo>
                    <a:pt x="159562" y="372325"/>
                  </a:lnTo>
                  <a:lnTo>
                    <a:pt x="132969" y="372325"/>
                  </a:lnTo>
                  <a:lnTo>
                    <a:pt x="132969" y="345732"/>
                  </a:lnTo>
                  <a:lnTo>
                    <a:pt x="159562" y="345732"/>
                  </a:lnTo>
                  <a:lnTo>
                    <a:pt x="159562" y="292544"/>
                  </a:lnTo>
                  <a:close/>
                </a:path>
                <a:path w="160020" h="771525">
                  <a:moveTo>
                    <a:pt x="159562" y="212763"/>
                  </a:moveTo>
                  <a:lnTo>
                    <a:pt x="132969" y="212763"/>
                  </a:lnTo>
                  <a:lnTo>
                    <a:pt x="106375" y="212763"/>
                  </a:lnTo>
                  <a:lnTo>
                    <a:pt x="79781" y="212763"/>
                  </a:lnTo>
                  <a:lnTo>
                    <a:pt x="53187" y="212763"/>
                  </a:lnTo>
                  <a:lnTo>
                    <a:pt x="53187" y="239356"/>
                  </a:lnTo>
                  <a:lnTo>
                    <a:pt x="79781" y="239356"/>
                  </a:lnTo>
                  <a:lnTo>
                    <a:pt x="106375" y="239356"/>
                  </a:lnTo>
                  <a:lnTo>
                    <a:pt x="132969" y="239356"/>
                  </a:lnTo>
                  <a:lnTo>
                    <a:pt x="132969" y="265950"/>
                  </a:lnTo>
                  <a:lnTo>
                    <a:pt x="159562" y="265950"/>
                  </a:lnTo>
                  <a:lnTo>
                    <a:pt x="159562" y="212763"/>
                  </a:lnTo>
                  <a:close/>
                </a:path>
                <a:path w="160020" h="771525">
                  <a:moveTo>
                    <a:pt x="159562" y="159575"/>
                  </a:moveTo>
                  <a:lnTo>
                    <a:pt x="159562" y="159575"/>
                  </a:lnTo>
                  <a:lnTo>
                    <a:pt x="26593" y="159575"/>
                  </a:lnTo>
                  <a:lnTo>
                    <a:pt x="26593" y="106387"/>
                  </a:lnTo>
                  <a:lnTo>
                    <a:pt x="26593" y="53200"/>
                  </a:lnTo>
                  <a:lnTo>
                    <a:pt x="0" y="53200"/>
                  </a:lnTo>
                  <a:lnTo>
                    <a:pt x="0" y="106387"/>
                  </a:lnTo>
                  <a:lnTo>
                    <a:pt x="0" y="186169"/>
                  </a:lnTo>
                  <a:lnTo>
                    <a:pt x="159562" y="186169"/>
                  </a:lnTo>
                  <a:lnTo>
                    <a:pt x="159562" y="159575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32969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1EB5AA89-3524-EC9B-3968-CBD7440BB372}"/>
                </a:ext>
              </a:extLst>
            </p:cNvPr>
            <p:cNvSpPr/>
            <p:nvPr/>
          </p:nvSpPr>
          <p:spPr>
            <a:xfrm>
              <a:off x="5247297" y="4533785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95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0BB03945-A5E8-519B-6E76-870CD6468CBA}"/>
                </a:ext>
              </a:extLst>
            </p:cNvPr>
            <p:cNvSpPr/>
            <p:nvPr/>
          </p:nvSpPr>
          <p:spPr>
            <a:xfrm>
              <a:off x="5234000" y="4533785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81" y="585089"/>
                  </a:moveTo>
                  <a:lnTo>
                    <a:pt x="0" y="585089"/>
                  </a:lnTo>
                  <a:lnTo>
                    <a:pt x="0" y="771258"/>
                  </a:lnTo>
                  <a:lnTo>
                    <a:pt x="26581" y="771258"/>
                  </a:lnTo>
                  <a:lnTo>
                    <a:pt x="26581" y="585089"/>
                  </a:lnTo>
                  <a:close/>
                </a:path>
                <a:path w="292735" h="771525">
                  <a:moveTo>
                    <a:pt x="53187" y="478713"/>
                  </a:moveTo>
                  <a:lnTo>
                    <a:pt x="26593" y="478713"/>
                  </a:lnTo>
                  <a:lnTo>
                    <a:pt x="26593" y="505307"/>
                  </a:lnTo>
                  <a:lnTo>
                    <a:pt x="53187" y="505307"/>
                  </a:lnTo>
                  <a:lnTo>
                    <a:pt x="53187" y="478713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372325"/>
                  </a:moveTo>
                  <a:lnTo>
                    <a:pt x="26593" y="372325"/>
                  </a:lnTo>
                  <a:lnTo>
                    <a:pt x="26593" y="398919"/>
                  </a:lnTo>
                  <a:lnTo>
                    <a:pt x="53187" y="398919"/>
                  </a:lnTo>
                  <a:lnTo>
                    <a:pt x="53187" y="372325"/>
                  </a:lnTo>
                  <a:close/>
                </a:path>
                <a:path w="292735" h="771525">
                  <a:moveTo>
                    <a:pt x="53187" y="292544"/>
                  </a:moveTo>
                  <a:lnTo>
                    <a:pt x="26593" y="292544"/>
                  </a:lnTo>
                  <a:lnTo>
                    <a:pt x="26593" y="319138"/>
                  </a:lnTo>
                  <a:lnTo>
                    <a:pt x="53187" y="319138"/>
                  </a:lnTo>
                  <a:lnTo>
                    <a:pt x="53187" y="292544"/>
                  </a:lnTo>
                  <a:close/>
                </a:path>
                <a:path w="292735" h="771525">
                  <a:moveTo>
                    <a:pt x="53187" y="239356"/>
                  </a:moveTo>
                  <a:lnTo>
                    <a:pt x="26593" y="239356"/>
                  </a:lnTo>
                  <a:lnTo>
                    <a:pt x="26593" y="265950"/>
                  </a:lnTo>
                  <a:lnTo>
                    <a:pt x="53187" y="265950"/>
                  </a:lnTo>
                  <a:lnTo>
                    <a:pt x="53187" y="239356"/>
                  </a:lnTo>
                  <a:close/>
                </a:path>
                <a:path w="292735" h="771525">
                  <a:moveTo>
                    <a:pt x="79794" y="319138"/>
                  </a:moveTo>
                  <a:lnTo>
                    <a:pt x="53200" y="319138"/>
                  </a:lnTo>
                  <a:lnTo>
                    <a:pt x="53200" y="345732"/>
                  </a:lnTo>
                  <a:lnTo>
                    <a:pt x="79794" y="345732"/>
                  </a:lnTo>
                  <a:lnTo>
                    <a:pt x="79794" y="319138"/>
                  </a:lnTo>
                  <a:close/>
                </a:path>
                <a:path w="292735" h="771525">
                  <a:moveTo>
                    <a:pt x="79794" y="53200"/>
                  </a:moveTo>
                  <a:lnTo>
                    <a:pt x="53200" y="53200"/>
                  </a:lnTo>
                  <a:lnTo>
                    <a:pt x="53200" y="106387"/>
                  </a:lnTo>
                  <a:lnTo>
                    <a:pt x="53200" y="212763"/>
                  </a:lnTo>
                  <a:lnTo>
                    <a:pt x="79794" y="212763"/>
                  </a:lnTo>
                  <a:lnTo>
                    <a:pt x="79794" y="106387"/>
                  </a:lnTo>
                  <a:lnTo>
                    <a:pt x="79794" y="53200"/>
                  </a:lnTo>
                  <a:close/>
                </a:path>
                <a:path w="292735" h="771525">
                  <a:moveTo>
                    <a:pt x="106387" y="372325"/>
                  </a:moveTo>
                  <a:lnTo>
                    <a:pt x="79794" y="372325"/>
                  </a:lnTo>
                  <a:lnTo>
                    <a:pt x="53200" y="372325"/>
                  </a:lnTo>
                  <a:lnTo>
                    <a:pt x="53200" y="398919"/>
                  </a:lnTo>
                  <a:lnTo>
                    <a:pt x="79794" y="398919"/>
                  </a:lnTo>
                  <a:lnTo>
                    <a:pt x="106387" y="398919"/>
                  </a:lnTo>
                  <a:lnTo>
                    <a:pt x="106387" y="372325"/>
                  </a:lnTo>
                  <a:close/>
                </a:path>
                <a:path w="292735" h="771525">
                  <a:moveTo>
                    <a:pt x="132981" y="345732"/>
                  </a:moveTo>
                  <a:lnTo>
                    <a:pt x="106387" y="345732"/>
                  </a:lnTo>
                  <a:lnTo>
                    <a:pt x="106387" y="372325"/>
                  </a:lnTo>
                  <a:lnTo>
                    <a:pt x="132981" y="372325"/>
                  </a:lnTo>
                  <a:lnTo>
                    <a:pt x="132981" y="345732"/>
                  </a:lnTo>
                  <a:close/>
                </a:path>
                <a:path w="292735" h="771525">
                  <a:moveTo>
                    <a:pt x="132981" y="159575"/>
                  </a:moveTo>
                  <a:lnTo>
                    <a:pt x="106387" y="159575"/>
                  </a:lnTo>
                  <a:lnTo>
                    <a:pt x="106387" y="212763"/>
                  </a:lnTo>
                  <a:lnTo>
                    <a:pt x="79794" y="212763"/>
                  </a:lnTo>
                  <a:lnTo>
                    <a:pt x="79794" y="319138"/>
                  </a:lnTo>
                  <a:lnTo>
                    <a:pt x="106387" y="319138"/>
                  </a:lnTo>
                  <a:lnTo>
                    <a:pt x="106387" y="292544"/>
                  </a:lnTo>
                  <a:lnTo>
                    <a:pt x="132981" y="292544"/>
                  </a:lnTo>
                  <a:lnTo>
                    <a:pt x="132981" y="265950"/>
                  </a:lnTo>
                  <a:lnTo>
                    <a:pt x="106387" y="265950"/>
                  </a:lnTo>
                  <a:lnTo>
                    <a:pt x="106387" y="239369"/>
                  </a:lnTo>
                  <a:lnTo>
                    <a:pt x="132981" y="239369"/>
                  </a:lnTo>
                  <a:lnTo>
                    <a:pt x="132981" y="159575"/>
                  </a:lnTo>
                  <a:close/>
                </a:path>
                <a:path w="292735" h="771525">
                  <a:moveTo>
                    <a:pt x="159575" y="106387"/>
                  </a:moveTo>
                  <a:lnTo>
                    <a:pt x="132981" y="106387"/>
                  </a:lnTo>
                  <a:lnTo>
                    <a:pt x="132981" y="132981"/>
                  </a:lnTo>
                  <a:lnTo>
                    <a:pt x="159575" y="132981"/>
                  </a:lnTo>
                  <a:lnTo>
                    <a:pt x="159575" y="106387"/>
                  </a:lnTo>
                  <a:close/>
                </a:path>
                <a:path w="292735" h="771525">
                  <a:moveTo>
                    <a:pt x="186156" y="744651"/>
                  </a:moveTo>
                  <a:lnTo>
                    <a:pt x="159575" y="744651"/>
                  </a:lnTo>
                  <a:lnTo>
                    <a:pt x="159575" y="771245"/>
                  </a:lnTo>
                  <a:lnTo>
                    <a:pt x="186156" y="771245"/>
                  </a:lnTo>
                  <a:lnTo>
                    <a:pt x="186156" y="744651"/>
                  </a:lnTo>
                  <a:close/>
                </a:path>
                <a:path w="292735" h="771525">
                  <a:moveTo>
                    <a:pt x="186156" y="691464"/>
                  </a:moveTo>
                  <a:lnTo>
                    <a:pt x="159575" y="691464"/>
                  </a:lnTo>
                  <a:lnTo>
                    <a:pt x="132981" y="691464"/>
                  </a:lnTo>
                  <a:lnTo>
                    <a:pt x="132981" y="664870"/>
                  </a:lnTo>
                  <a:lnTo>
                    <a:pt x="106387" y="664870"/>
                  </a:lnTo>
                  <a:lnTo>
                    <a:pt x="106387" y="691464"/>
                  </a:lnTo>
                  <a:lnTo>
                    <a:pt x="79794" y="691464"/>
                  </a:lnTo>
                  <a:lnTo>
                    <a:pt x="79794" y="611682"/>
                  </a:lnTo>
                  <a:lnTo>
                    <a:pt x="53200" y="611682"/>
                  </a:lnTo>
                  <a:lnTo>
                    <a:pt x="53200" y="718070"/>
                  </a:lnTo>
                  <a:lnTo>
                    <a:pt x="79794" y="718070"/>
                  </a:lnTo>
                  <a:lnTo>
                    <a:pt x="79794" y="744651"/>
                  </a:lnTo>
                  <a:lnTo>
                    <a:pt x="53200" y="744651"/>
                  </a:lnTo>
                  <a:lnTo>
                    <a:pt x="53200" y="771245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45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18058"/>
                  </a:lnTo>
                  <a:lnTo>
                    <a:pt x="186156" y="718058"/>
                  </a:lnTo>
                  <a:lnTo>
                    <a:pt x="186156" y="691464"/>
                  </a:lnTo>
                  <a:close/>
                </a:path>
                <a:path w="292735" h="771525">
                  <a:moveTo>
                    <a:pt x="186156" y="398919"/>
                  </a:move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20"/>
                  </a:lnTo>
                  <a:lnTo>
                    <a:pt x="79794" y="452120"/>
                  </a:lnTo>
                  <a:lnTo>
                    <a:pt x="79794" y="505307"/>
                  </a:lnTo>
                  <a:lnTo>
                    <a:pt x="106387" y="505307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307"/>
                  </a:lnTo>
                  <a:lnTo>
                    <a:pt x="106387" y="505307"/>
                  </a:lnTo>
                  <a:lnTo>
                    <a:pt x="106387" y="531901"/>
                  </a:lnTo>
                  <a:lnTo>
                    <a:pt x="79794" y="531901"/>
                  </a:lnTo>
                  <a:lnTo>
                    <a:pt x="79794" y="505307"/>
                  </a:lnTo>
                  <a:lnTo>
                    <a:pt x="53200" y="505307"/>
                  </a:lnTo>
                  <a:lnTo>
                    <a:pt x="53200" y="585089"/>
                  </a:lnTo>
                  <a:lnTo>
                    <a:pt x="79794" y="585089"/>
                  </a:lnTo>
                  <a:lnTo>
                    <a:pt x="79794" y="558495"/>
                  </a:lnTo>
                  <a:lnTo>
                    <a:pt x="106387" y="558495"/>
                  </a:lnTo>
                  <a:lnTo>
                    <a:pt x="132981" y="558495"/>
                  </a:lnTo>
                  <a:lnTo>
                    <a:pt x="132981" y="531914"/>
                  </a:lnTo>
                  <a:lnTo>
                    <a:pt x="159575" y="531914"/>
                  </a:lnTo>
                  <a:lnTo>
                    <a:pt x="159575" y="585089"/>
                  </a:lnTo>
                  <a:lnTo>
                    <a:pt x="132981" y="585089"/>
                  </a:lnTo>
                  <a:lnTo>
                    <a:pt x="106387" y="585089"/>
                  </a:lnTo>
                  <a:lnTo>
                    <a:pt x="79794" y="585089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76"/>
                  </a:lnTo>
                  <a:lnTo>
                    <a:pt x="186156" y="638276"/>
                  </a:lnTo>
                  <a:lnTo>
                    <a:pt x="186156" y="478713"/>
                  </a:lnTo>
                  <a:lnTo>
                    <a:pt x="159575" y="478713"/>
                  </a:lnTo>
                  <a:lnTo>
                    <a:pt x="159575" y="452120"/>
                  </a:lnTo>
                  <a:lnTo>
                    <a:pt x="132981" y="452120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56" y="452107"/>
                  </a:lnTo>
                  <a:lnTo>
                    <a:pt x="186156" y="398919"/>
                  </a:lnTo>
                  <a:close/>
                </a:path>
                <a:path w="292735" h="771525">
                  <a:moveTo>
                    <a:pt x="186156" y="345732"/>
                  </a:moveTo>
                  <a:lnTo>
                    <a:pt x="159575" y="345732"/>
                  </a:lnTo>
                  <a:lnTo>
                    <a:pt x="159575" y="372325"/>
                  </a:lnTo>
                  <a:lnTo>
                    <a:pt x="186156" y="372325"/>
                  </a:lnTo>
                  <a:lnTo>
                    <a:pt x="186156" y="345732"/>
                  </a:lnTo>
                  <a:close/>
                </a:path>
                <a:path w="292735" h="771525">
                  <a:moveTo>
                    <a:pt x="186156" y="239356"/>
                  </a:moveTo>
                  <a:lnTo>
                    <a:pt x="159575" y="239356"/>
                  </a:lnTo>
                  <a:lnTo>
                    <a:pt x="159575" y="292544"/>
                  </a:lnTo>
                  <a:lnTo>
                    <a:pt x="132981" y="292544"/>
                  </a:lnTo>
                  <a:lnTo>
                    <a:pt x="132981" y="345732"/>
                  </a:lnTo>
                  <a:lnTo>
                    <a:pt x="159575" y="345732"/>
                  </a:lnTo>
                  <a:lnTo>
                    <a:pt x="159575" y="319138"/>
                  </a:lnTo>
                  <a:lnTo>
                    <a:pt x="186156" y="319138"/>
                  </a:lnTo>
                  <a:lnTo>
                    <a:pt x="186156" y="239356"/>
                  </a:lnTo>
                  <a:close/>
                </a:path>
                <a:path w="292735" h="771525">
                  <a:moveTo>
                    <a:pt x="186156" y="132981"/>
                  </a:moveTo>
                  <a:lnTo>
                    <a:pt x="159575" y="132981"/>
                  </a:lnTo>
                  <a:lnTo>
                    <a:pt x="159575" y="186169"/>
                  </a:lnTo>
                  <a:lnTo>
                    <a:pt x="186156" y="186169"/>
                  </a:lnTo>
                  <a:lnTo>
                    <a:pt x="186156" y="132981"/>
                  </a:lnTo>
                  <a:close/>
                </a:path>
                <a:path w="292735" h="771525">
                  <a:moveTo>
                    <a:pt x="186156" y="26606"/>
                  </a:moveTo>
                  <a:lnTo>
                    <a:pt x="159575" y="26606"/>
                  </a:lnTo>
                  <a:lnTo>
                    <a:pt x="132981" y="26606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32981" y="53187"/>
                  </a:lnTo>
                  <a:lnTo>
                    <a:pt x="106387" y="53200"/>
                  </a:lnTo>
                  <a:lnTo>
                    <a:pt x="106387" y="79794"/>
                  </a:lnTo>
                  <a:lnTo>
                    <a:pt x="132981" y="79794"/>
                  </a:lnTo>
                  <a:lnTo>
                    <a:pt x="159575" y="79794"/>
                  </a:lnTo>
                  <a:lnTo>
                    <a:pt x="186156" y="79794"/>
                  </a:lnTo>
                  <a:lnTo>
                    <a:pt x="186156" y="53200"/>
                  </a:lnTo>
                  <a:lnTo>
                    <a:pt x="186156" y="26606"/>
                  </a:lnTo>
                  <a:close/>
                </a:path>
                <a:path w="292735" h="771525">
                  <a:moveTo>
                    <a:pt x="212763" y="744651"/>
                  </a:moveTo>
                  <a:lnTo>
                    <a:pt x="186169" y="744651"/>
                  </a:lnTo>
                  <a:lnTo>
                    <a:pt x="186169" y="771245"/>
                  </a:lnTo>
                  <a:lnTo>
                    <a:pt x="212763" y="771245"/>
                  </a:lnTo>
                  <a:lnTo>
                    <a:pt x="212763" y="744651"/>
                  </a:lnTo>
                  <a:close/>
                </a:path>
                <a:path w="292735" h="771525">
                  <a:moveTo>
                    <a:pt x="212763" y="26606"/>
                  </a:moveTo>
                  <a:lnTo>
                    <a:pt x="186169" y="26606"/>
                  </a:lnTo>
                  <a:lnTo>
                    <a:pt x="186169" y="53200"/>
                  </a:lnTo>
                  <a:lnTo>
                    <a:pt x="212763" y="53200"/>
                  </a:lnTo>
                  <a:lnTo>
                    <a:pt x="212763" y="26606"/>
                  </a:lnTo>
                  <a:close/>
                </a:path>
                <a:path w="292735" h="771525">
                  <a:moveTo>
                    <a:pt x="239356" y="425513"/>
                  </a:move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close/>
                </a:path>
                <a:path w="292735" h="771525">
                  <a:moveTo>
                    <a:pt x="239356" y="319138"/>
                  </a:moveTo>
                  <a:lnTo>
                    <a:pt x="212763" y="319138"/>
                  </a:lnTo>
                  <a:lnTo>
                    <a:pt x="186169" y="319138"/>
                  </a:lnTo>
                  <a:lnTo>
                    <a:pt x="186169" y="345732"/>
                  </a:lnTo>
                  <a:lnTo>
                    <a:pt x="212763" y="345732"/>
                  </a:lnTo>
                  <a:lnTo>
                    <a:pt x="212763" y="372325"/>
                  </a:lnTo>
                  <a:lnTo>
                    <a:pt x="239356" y="372325"/>
                  </a:lnTo>
                  <a:lnTo>
                    <a:pt x="239356" y="319138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50" y="691464"/>
                  </a:moveTo>
                  <a:lnTo>
                    <a:pt x="239356" y="691464"/>
                  </a:lnTo>
                  <a:lnTo>
                    <a:pt x="212763" y="691464"/>
                  </a:lnTo>
                  <a:lnTo>
                    <a:pt x="186169" y="691464"/>
                  </a:lnTo>
                  <a:lnTo>
                    <a:pt x="186169" y="718058"/>
                  </a:lnTo>
                  <a:lnTo>
                    <a:pt x="212763" y="718058"/>
                  </a:lnTo>
                  <a:lnTo>
                    <a:pt x="239356" y="718058"/>
                  </a:lnTo>
                  <a:lnTo>
                    <a:pt x="265950" y="718058"/>
                  </a:lnTo>
                  <a:lnTo>
                    <a:pt x="265950" y="691464"/>
                  </a:lnTo>
                  <a:close/>
                </a:path>
                <a:path w="292735" h="771525">
                  <a:moveTo>
                    <a:pt x="265950" y="638276"/>
                  </a:moveTo>
                  <a:lnTo>
                    <a:pt x="239356" y="638276"/>
                  </a:lnTo>
                  <a:lnTo>
                    <a:pt x="239356" y="664870"/>
                  </a:lnTo>
                  <a:lnTo>
                    <a:pt x="265950" y="664870"/>
                  </a:lnTo>
                  <a:lnTo>
                    <a:pt x="265950" y="638276"/>
                  </a:lnTo>
                  <a:close/>
                </a:path>
                <a:path w="292735" h="771525">
                  <a:moveTo>
                    <a:pt x="265950" y="585089"/>
                  </a:moveTo>
                  <a:lnTo>
                    <a:pt x="239356" y="585089"/>
                  </a:lnTo>
                  <a:lnTo>
                    <a:pt x="239356" y="611682"/>
                  </a:lnTo>
                  <a:lnTo>
                    <a:pt x="265950" y="611682"/>
                  </a:lnTo>
                  <a:lnTo>
                    <a:pt x="265950" y="585089"/>
                  </a:lnTo>
                  <a:close/>
                </a:path>
                <a:path w="292735" h="771525">
                  <a:moveTo>
                    <a:pt x="265950" y="478713"/>
                  </a:moveTo>
                  <a:lnTo>
                    <a:pt x="239356" y="478713"/>
                  </a:lnTo>
                  <a:lnTo>
                    <a:pt x="239356" y="531901"/>
                  </a:lnTo>
                  <a:lnTo>
                    <a:pt x="212763" y="531901"/>
                  </a:lnTo>
                  <a:lnTo>
                    <a:pt x="186169" y="531901"/>
                  </a:lnTo>
                  <a:lnTo>
                    <a:pt x="186169" y="558495"/>
                  </a:lnTo>
                  <a:lnTo>
                    <a:pt x="212763" y="558495"/>
                  </a:lnTo>
                  <a:lnTo>
                    <a:pt x="212763" y="585089"/>
                  </a:lnTo>
                  <a:lnTo>
                    <a:pt x="239356" y="585089"/>
                  </a:lnTo>
                  <a:lnTo>
                    <a:pt x="239356" y="558495"/>
                  </a:lnTo>
                  <a:lnTo>
                    <a:pt x="265950" y="558495"/>
                  </a:lnTo>
                  <a:lnTo>
                    <a:pt x="265950" y="478713"/>
                  </a:lnTo>
                  <a:close/>
                </a:path>
                <a:path w="292735" h="771525">
                  <a:moveTo>
                    <a:pt x="265950" y="372325"/>
                  </a:moveTo>
                  <a:lnTo>
                    <a:pt x="239356" y="372325"/>
                  </a:lnTo>
                  <a:lnTo>
                    <a:pt x="239356" y="425513"/>
                  </a:lnTo>
                  <a:lnTo>
                    <a:pt x="265950" y="425513"/>
                  </a:lnTo>
                  <a:lnTo>
                    <a:pt x="265950" y="372325"/>
                  </a:lnTo>
                  <a:close/>
                </a:path>
                <a:path w="292735" h="771525">
                  <a:moveTo>
                    <a:pt x="265950" y="265950"/>
                  </a:moveTo>
                  <a:lnTo>
                    <a:pt x="239356" y="265950"/>
                  </a:lnTo>
                  <a:lnTo>
                    <a:pt x="212763" y="265950"/>
                  </a:lnTo>
                  <a:lnTo>
                    <a:pt x="212763" y="212763"/>
                  </a:lnTo>
                  <a:lnTo>
                    <a:pt x="186169" y="212763"/>
                  </a:lnTo>
                  <a:lnTo>
                    <a:pt x="186169" y="292544"/>
                  </a:lnTo>
                  <a:lnTo>
                    <a:pt x="212763" y="292544"/>
                  </a:lnTo>
                  <a:lnTo>
                    <a:pt x="239356" y="292544"/>
                  </a:lnTo>
                  <a:lnTo>
                    <a:pt x="239356" y="319138"/>
                  </a:lnTo>
                  <a:lnTo>
                    <a:pt x="265950" y="319138"/>
                  </a:lnTo>
                  <a:lnTo>
                    <a:pt x="265950" y="265950"/>
                  </a:lnTo>
                  <a:close/>
                </a:path>
                <a:path w="292735" h="771525">
                  <a:moveTo>
                    <a:pt x="265950" y="132981"/>
                  </a:moveTo>
                  <a:lnTo>
                    <a:pt x="239356" y="132981"/>
                  </a:lnTo>
                  <a:lnTo>
                    <a:pt x="212763" y="132981"/>
                  </a:lnTo>
                  <a:lnTo>
                    <a:pt x="212763" y="212763"/>
                  </a:lnTo>
                  <a:lnTo>
                    <a:pt x="239356" y="212763"/>
                  </a:lnTo>
                  <a:lnTo>
                    <a:pt x="239356" y="159575"/>
                  </a:lnTo>
                  <a:lnTo>
                    <a:pt x="265950" y="159575"/>
                  </a:lnTo>
                  <a:lnTo>
                    <a:pt x="265950" y="132981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26606"/>
                  </a:lnTo>
                  <a:lnTo>
                    <a:pt x="239356" y="26606"/>
                  </a:lnTo>
                  <a:lnTo>
                    <a:pt x="239356" y="53200"/>
                  </a:lnTo>
                  <a:lnTo>
                    <a:pt x="239356" y="79794"/>
                  </a:lnTo>
                  <a:lnTo>
                    <a:pt x="212763" y="79794"/>
                  </a:lnTo>
                  <a:lnTo>
                    <a:pt x="186169" y="79794"/>
                  </a:lnTo>
                  <a:lnTo>
                    <a:pt x="186169" y="106387"/>
                  </a:lnTo>
                  <a:lnTo>
                    <a:pt x="212763" y="106387"/>
                  </a:lnTo>
                  <a:lnTo>
                    <a:pt x="239356" y="106387"/>
                  </a:lnTo>
                  <a:lnTo>
                    <a:pt x="265950" y="106387"/>
                  </a:lnTo>
                  <a:lnTo>
                    <a:pt x="265950" y="53200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CD9BB495-2CC7-D0F3-8CEA-C0E247AF5971}"/>
                </a:ext>
              </a:extLst>
            </p:cNvPr>
            <p:cNvSpPr/>
            <p:nvPr/>
          </p:nvSpPr>
          <p:spPr>
            <a:xfrm>
              <a:off x="5499951" y="4533785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75"/>
                  </a:moveTo>
                  <a:lnTo>
                    <a:pt x="0" y="159575"/>
                  </a:lnTo>
                  <a:lnTo>
                    <a:pt x="0" y="212763"/>
                  </a:lnTo>
                  <a:lnTo>
                    <a:pt x="26593" y="212763"/>
                  </a:lnTo>
                  <a:lnTo>
                    <a:pt x="26593" y="159575"/>
                  </a:lnTo>
                  <a:close/>
                </a:path>
                <a:path w="213360" h="771525">
                  <a:moveTo>
                    <a:pt x="26593" y="106387"/>
                  </a:moveTo>
                  <a:lnTo>
                    <a:pt x="0" y="106387"/>
                  </a:lnTo>
                  <a:lnTo>
                    <a:pt x="0" y="132981"/>
                  </a:lnTo>
                  <a:lnTo>
                    <a:pt x="26593" y="132981"/>
                  </a:lnTo>
                  <a:lnTo>
                    <a:pt x="26593" y="106387"/>
                  </a:lnTo>
                  <a:close/>
                </a:path>
                <a:path w="213360" h="771525">
                  <a:moveTo>
                    <a:pt x="53187" y="638276"/>
                  </a:moveTo>
                  <a:lnTo>
                    <a:pt x="26593" y="638276"/>
                  </a:lnTo>
                  <a:lnTo>
                    <a:pt x="0" y="638276"/>
                  </a:lnTo>
                  <a:lnTo>
                    <a:pt x="0" y="744651"/>
                  </a:lnTo>
                  <a:lnTo>
                    <a:pt x="26593" y="744651"/>
                  </a:lnTo>
                  <a:lnTo>
                    <a:pt x="26593" y="664870"/>
                  </a:lnTo>
                  <a:lnTo>
                    <a:pt x="53187" y="664870"/>
                  </a:lnTo>
                  <a:lnTo>
                    <a:pt x="53187" y="638276"/>
                  </a:lnTo>
                  <a:close/>
                </a:path>
                <a:path w="213360" h="771525">
                  <a:moveTo>
                    <a:pt x="53187" y="372325"/>
                  </a:moveTo>
                  <a:lnTo>
                    <a:pt x="26593" y="372325"/>
                  </a:lnTo>
                  <a:lnTo>
                    <a:pt x="26593" y="345732"/>
                  </a:lnTo>
                  <a:lnTo>
                    <a:pt x="0" y="345732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lnTo>
                    <a:pt x="53187" y="398919"/>
                  </a:lnTo>
                  <a:lnTo>
                    <a:pt x="53187" y="372325"/>
                  </a:lnTo>
                  <a:close/>
                </a:path>
                <a:path w="213360" h="771525">
                  <a:moveTo>
                    <a:pt x="53187" y="319138"/>
                  </a:moveTo>
                  <a:lnTo>
                    <a:pt x="26593" y="319138"/>
                  </a:lnTo>
                  <a:lnTo>
                    <a:pt x="26593" y="345732"/>
                  </a:lnTo>
                  <a:lnTo>
                    <a:pt x="53187" y="345732"/>
                  </a:lnTo>
                  <a:lnTo>
                    <a:pt x="53187" y="319138"/>
                  </a:lnTo>
                  <a:close/>
                </a:path>
                <a:path w="213360" h="771525">
                  <a:moveTo>
                    <a:pt x="53187" y="212763"/>
                  </a:moveTo>
                  <a:lnTo>
                    <a:pt x="26593" y="212763"/>
                  </a:lnTo>
                  <a:lnTo>
                    <a:pt x="26593" y="239356"/>
                  </a:lnTo>
                  <a:lnTo>
                    <a:pt x="53187" y="239356"/>
                  </a:lnTo>
                  <a:lnTo>
                    <a:pt x="53187" y="212763"/>
                  </a:lnTo>
                  <a:close/>
                </a:path>
                <a:path w="213360" h="771525">
                  <a:moveTo>
                    <a:pt x="53187" y="79794"/>
                  </a:moveTo>
                  <a:lnTo>
                    <a:pt x="26593" y="79794"/>
                  </a:lnTo>
                  <a:lnTo>
                    <a:pt x="26593" y="106387"/>
                  </a:lnTo>
                  <a:lnTo>
                    <a:pt x="53187" y="106387"/>
                  </a:lnTo>
                  <a:lnTo>
                    <a:pt x="53187" y="79794"/>
                  </a:lnTo>
                  <a:close/>
                </a:path>
                <a:path w="213360" h="771525">
                  <a:moveTo>
                    <a:pt x="79781" y="664870"/>
                  </a:moveTo>
                  <a:lnTo>
                    <a:pt x="53187" y="664870"/>
                  </a:lnTo>
                  <a:lnTo>
                    <a:pt x="53187" y="691464"/>
                  </a:lnTo>
                  <a:lnTo>
                    <a:pt x="79781" y="691464"/>
                  </a:lnTo>
                  <a:lnTo>
                    <a:pt x="79781" y="664870"/>
                  </a:lnTo>
                  <a:close/>
                </a:path>
                <a:path w="213360" h="771525">
                  <a:moveTo>
                    <a:pt x="79781" y="265950"/>
                  </a:moveTo>
                  <a:lnTo>
                    <a:pt x="53187" y="265950"/>
                  </a:lnTo>
                  <a:lnTo>
                    <a:pt x="26593" y="265950"/>
                  </a:lnTo>
                  <a:lnTo>
                    <a:pt x="26593" y="239356"/>
                  </a:lnTo>
                  <a:lnTo>
                    <a:pt x="0" y="239356"/>
                  </a:lnTo>
                  <a:lnTo>
                    <a:pt x="0" y="292544"/>
                  </a:lnTo>
                  <a:lnTo>
                    <a:pt x="26593" y="292544"/>
                  </a:lnTo>
                  <a:lnTo>
                    <a:pt x="53187" y="292544"/>
                  </a:lnTo>
                  <a:lnTo>
                    <a:pt x="53187" y="319138"/>
                  </a:lnTo>
                  <a:lnTo>
                    <a:pt x="79781" y="319138"/>
                  </a:lnTo>
                  <a:lnTo>
                    <a:pt x="79781" y="265950"/>
                  </a:lnTo>
                  <a:close/>
                </a:path>
                <a:path w="213360" h="771525">
                  <a:moveTo>
                    <a:pt x="79781" y="159575"/>
                  </a:moveTo>
                  <a:lnTo>
                    <a:pt x="53187" y="159575"/>
                  </a:lnTo>
                  <a:lnTo>
                    <a:pt x="53187" y="186169"/>
                  </a:lnTo>
                  <a:lnTo>
                    <a:pt x="79781" y="186169"/>
                  </a:lnTo>
                  <a:lnTo>
                    <a:pt x="79781" y="159575"/>
                  </a:lnTo>
                  <a:close/>
                </a:path>
                <a:path w="213360" h="771525">
                  <a:moveTo>
                    <a:pt x="79781" y="26606"/>
                  </a:moveTo>
                  <a:lnTo>
                    <a:pt x="53187" y="26606"/>
                  </a:lnTo>
                  <a:lnTo>
                    <a:pt x="26593" y="26606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200"/>
                  </a:lnTo>
                  <a:lnTo>
                    <a:pt x="79781" y="53200"/>
                  </a:lnTo>
                  <a:lnTo>
                    <a:pt x="79781" y="26606"/>
                  </a:lnTo>
                  <a:close/>
                </a:path>
                <a:path w="213360" h="771525">
                  <a:moveTo>
                    <a:pt x="106375" y="744651"/>
                  </a:moveTo>
                  <a:lnTo>
                    <a:pt x="79781" y="744651"/>
                  </a:lnTo>
                  <a:lnTo>
                    <a:pt x="53187" y="744651"/>
                  </a:lnTo>
                  <a:lnTo>
                    <a:pt x="26593" y="744651"/>
                  </a:lnTo>
                  <a:lnTo>
                    <a:pt x="26593" y="771245"/>
                  </a:lnTo>
                  <a:lnTo>
                    <a:pt x="53187" y="771245"/>
                  </a:lnTo>
                  <a:lnTo>
                    <a:pt x="79781" y="771245"/>
                  </a:lnTo>
                  <a:lnTo>
                    <a:pt x="106375" y="771245"/>
                  </a:lnTo>
                  <a:lnTo>
                    <a:pt x="106375" y="744651"/>
                  </a:lnTo>
                  <a:close/>
                </a:path>
                <a:path w="213360" h="771525">
                  <a:moveTo>
                    <a:pt x="106375" y="691464"/>
                  </a:moveTo>
                  <a:lnTo>
                    <a:pt x="79781" y="691464"/>
                  </a:lnTo>
                  <a:lnTo>
                    <a:pt x="79781" y="718058"/>
                  </a:lnTo>
                  <a:lnTo>
                    <a:pt x="106375" y="718058"/>
                  </a:lnTo>
                  <a:lnTo>
                    <a:pt x="106375" y="691464"/>
                  </a:lnTo>
                  <a:close/>
                </a:path>
                <a:path w="213360" h="771525">
                  <a:moveTo>
                    <a:pt x="132969" y="718058"/>
                  </a:moveTo>
                  <a:lnTo>
                    <a:pt x="106375" y="718058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18058"/>
                  </a:lnTo>
                  <a:close/>
                </a:path>
                <a:path w="213360" h="771525">
                  <a:moveTo>
                    <a:pt x="132969" y="292544"/>
                  </a:moveTo>
                  <a:lnTo>
                    <a:pt x="106375" y="292544"/>
                  </a:lnTo>
                  <a:lnTo>
                    <a:pt x="106375" y="319138"/>
                  </a:lnTo>
                  <a:lnTo>
                    <a:pt x="132969" y="319138"/>
                  </a:lnTo>
                  <a:lnTo>
                    <a:pt x="132969" y="292544"/>
                  </a:lnTo>
                  <a:close/>
                </a:path>
                <a:path w="213360" h="771525">
                  <a:moveTo>
                    <a:pt x="132969" y="132981"/>
                  </a:moveTo>
                  <a:lnTo>
                    <a:pt x="106375" y="132981"/>
                  </a:lnTo>
                  <a:lnTo>
                    <a:pt x="106375" y="212763"/>
                  </a:lnTo>
                  <a:lnTo>
                    <a:pt x="132969" y="212763"/>
                  </a:lnTo>
                  <a:lnTo>
                    <a:pt x="132969" y="132981"/>
                  </a:lnTo>
                  <a:close/>
                </a:path>
                <a:path w="213360" h="771525">
                  <a:moveTo>
                    <a:pt x="132969" y="53200"/>
                  </a:moveTo>
                  <a:lnTo>
                    <a:pt x="106375" y="53200"/>
                  </a:lnTo>
                  <a:lnTo>
                    <a:pt x="79781" y="53200"/>
                  </a:lnTo>
                  <a:lnTo>
                    <a:pt x="79781" y="106387"/>
                  </a:lnTo>
                  <a:lnTo>
                    <a:pt x="53187" y="106387"/>
                  </a:lnTo>
                  <a:lnTo>
                    <a:pt x="53187" y="132981"/>
                  </a:lnTo>
                  <a:lnTo>
                    <a:pt x="79781" y="132981"/>
                  </a:lnTo>
                  <a:lnTo>
                    <a:pt x="106375" y="132981"/>
                  </a:lnTo>
                  <a:lnTo>
                    <a:pt x="106375" y="106387"/>
                  </a:lnTo>
                  <a:lnTo>
                    <a:pt x="106375" y="79794"/>
                  </a:lnTo>
                  <a:lnTo>
                    <a:pt x="132969" y="79794"/>
                  </a:lnTo>
                  <a:lnTo>
                    <a:pt x="132969" y="53200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43" y="585089"/>
                  </a:moveTo>
                  <a:lnTo>
                    <a:pt x="159562" y="585089"/>
                  </a:lnTo>
                  <a:lnTo>
                    <a:pt x="159562" y="611682"/>
                  </a:lnTo>
                  <a:lnTo>
                    <a:pt x="186143" y="611682"/>
                  </a:lnTo>
                  <a:lnTo>
                    <a:pt x="186143" y="585089"/>
                  </a:lnTo>
                  <a:close/>
                </a:path>
                <a:path w="213360" h="771525">
                  <a:moveTo>
                    <a:pt x="186143" y="505307"/>
                  </a:moveTo>
                  <a:lnTo>
                    <a:pt x="159562" y="505307"/>
                  </a:lnTo>
                  <a:lnTo>
                    <a:pt x="159562" y="478713"/>
                  </a:lnTo>
                  <a:lnTo>
                    <a:pt x="132969" y="478713"/>
                  </a:lnTo>
                  <a:lnTo>
                    <a:pt x="106375" y="478713"/>
                  </a:lnTo>
                  <a:lnTo>
                    <a:pt x="106375" y="585089"/>
                  </a:lnTo>
                  <a:lnTo>
                    <a:pt x="79781" y="585089"/>
                  </a:lnTo>
                  <a:lnTo>
                    <a:pt x="79781" y="558495"/>
                  </a:lnTo>
                  <a:lnTo>
                    <a:pt x="53187" y="558495"/>
                  </a:lnTo>
                  <a:lnTo>
                    <a:pt x="53187" y="585089"/>
                  </a:lnTo>
                  <a:lnTo>
                    <a:pt x="26593" y="585089"/>
                  </a:lnTo>
                  <a:lnTo>
                    <a:pt x="26593" y="558495"/>
                  </a:lnTo>
                  <a:lnTo>
                    <a:pt x="0" y="558495"/>
                  </a:lnTo>
                  <a:lnTo>
                    <a:pt x="0" y="611682"/>
                  </a:lnTo>
                  <a:lnTo>
                    <a:pt x="26593" y="611682"/>
                  </a:lnTo>
                  <a:lnTo>
                    <a:pt x="53187" y="611682"/>
                  </a:lnTo>
                  <a:lnTo>
                    <a:pt x="79781" y="611682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70"/>
                  </a:lnTo>
                  <a:lnTo>
                    <a:pt x="132969" y="664870"/>
                  </a:lnTo>
                  <a:lnTo>
                    <a:pt x="132969" y="718058"/>
                  </a:lnTo>
                  <a:lnTo>
                    <a:pt x="159562" y="718058"/>
                  </a:lnTo>
                  <a:lnTo>
                    <a:pt x="159562" y="744651"/>
                  </a:lnTo>
                  <a:lnTo>
                    <a:pt x="132969" y="744651"/>
                  </a:lnTo>
                  <a:lnTo>
                    <a:pt x="132969" y="771245"/>
                  </a:lnTo>
                  <a:lnTo>
                    <a:pt x="159562" y="771245"/>
                  </a:lnTo>
                  <a:lnTo>
                    <a:pt x="186143" y="771245"/>
                  </a:lnTo>
                  <a:lnTo>
                    <a:pt x="186143" y="691464"/>
                  </a:lnTo>
                  <a:lnTo>
                    <a:pt x="159562" y="691464"/>
                  </a:lnTo>
                  <a:lnTo>
                    <a:pt x="159562" y="664870"/>
                  </a:lnTo>
                  <a:lnTo>
                    <a:pt x="186143" y="664870"/>
                  </a:lnTo>
                  <a:lnTo>
                    <a:pt x="186143" y="638276"/>
                  </a:lnTo>
                  <a:lnTo>
                    <a:pt x="159562" y="638276"/>
                  </a:lnTo>
                  <a:lnTo>
                    <a:pt x="132969" y="638276"/>
                  </a:lnTo>
                  <a:lnTo>
                    <a:pt x="132969" y="558495"/>
                  </a:lnTo>
                  <a:lnTo>
                    <a:pt x="159562" y="558495"/>
                  </a:lnTo>
                  <a:lnTo>
                    <a:pt x="186143" y="558495"/>
                  </a:lnTo>
                  <a:lnTo>
                    <a:pt x="186143" y="505307"/>
                  </a:lnTo>
                  <a:close/>
                </a:path>
                <a:path w="213360" h="771525">
                  <a:moveTo>
                    <a:pt x="186143" y="452120"/>
                  </a:moveTo>
                  <a:lnTo>
                    <a:pt x="159562" y="452120"/>
                  </a:lnTo>
                  <a:lnTo>
                    <a:pt x="159562" y="478713"/>
                  </a:lnTo>
                  <a:lnTo>
                    <a:pt x="186143" y="478713"/>
                  </a:lnTo>
                  <a:lnTo>
                    <a:pt x="186143" y="452120"/>
                  </a:lnTo>
                  <a:close/>
                </a:path>
                <a:path w="213360" h="771525">
                  <a:moveTo>
                    <a:pt x="186143" y="345732"/>
                  </a:moveTo>
                  <a:lnTo>
                    <a:pt x="159562" y="345732"/>
                  </a:lnTo>
                  <a:lnTo>
                    <a:pt x="132969" y="345732"/>
                  </a:lnTo>
                  <a:lnTo>
                    <a:pt x="106375" y="345732"/>
                  </a:lnTo>
                  <a:lnTo>
                    <a:pt x="79781" y="345732"/>
                  </a:lnTo>
                  <a:lnTo>
                    <a:pt x="79781" y="372325"/>
                  </a:lnTo>
                  <a:lnTo>
                    <a:pt x="106375" y="372325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20"/>
                  </a:lnTo>
                  <a:lnTo>
                    <a:pt x="53187" y="452120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20"/>
                  </a:lnTo>
                  <a:lnTo>
                    <a:pt x="0" y="452120"/>
                  </a:lnTo>
                  <a:lnTo>
                    <a:pt x="0" y="531914"/>
                  </a:lnTo>
                  <a:lnTo>
                    <a:pt x="26593" y="531914"/>
                  </a:lnTo>
                  <a:lnTo>
                    <a:pt x="26593" y="558495"/>
                  </a:lnTo>
                  <a:lnTo>
                    <a:pt x="53187" y="558495"/>
                  </a:lnTo>
                  <a:lnTo>
                    <a:pt x="53187" y="531901"/>
                  </a:lnTo>
                  <a:lnTo>
                    <a:pt x="26593" y="531901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307"/>
                  </a:lnTo>
                  <a:lnTo>
                    <a:pt x="79781" y="505307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13"/>
                  </a:lnTo>
                  <a:lnTo>
                    <a:pt x="132969" y="425513"/>
                  </a:lnTo>
                  <a:lnTo>
                    <a:pt x="132969" y="372325"/>
                  </a:lnTo>
                  <a:lnTo>
                    <a:pt x="159562" y="372325"/>
                  </a:lnTo>
                  <a:lnTo>
                    <a:pt x="186143" y="372325"/>
                  </a:lnTo>
                  <a:lnTo>
                    <a:pt x="186143" y="345732"/>
                  </a:lnTo>
                  <a:close/>
                </a:path>
                <a:path w="213360" h="771525">
                  <a:moveTo>
                    <a:pt x="186143" y="212763"/>
                  </a:moveTo>
                  <a:lnTo>
                    <a:pt x="159562" y="212763"/>
                  </a:lnTo>
                  <a:lnTo>
                    <a:pt x="159562" y="239356"/>
                  </a:lnTo>
                  <a:lnTo>
                    <a:pt x="132969" y="239356"/>
                  </a:lnTo>
                  <a:lnTo>
                    <a:pt x="106375" y="239356"/>
                  </a:lnTo>
                  <a:lnTo>
                    <a:pt x="79781" y="239356"/>
                  </a:lnTo>
                  <a:lnTo>
                    <a:pt x="79781" y="265950"/>
                  </a:lnTo>
                  <a:lnTo>
                    <a:pt x="106375" y="265950"/>
                  </a:lnTo>
                  <a:lnTo>
                    <a:pt x="132969" y="265950"/>
                  </a:lnTo>
                  <a:lnTo>
                    <a:pt x="159562" y="265950"/>
                  </a:lnTo>
                  <a:lnTo>
                    <a:pt x="159562" y="292544"/>
                  </a:lnTo>
                  <a:lnTo>
                    <a:pt x="186143" y="292544"/>
                  </a:lnTo>
                  <a:lnTo>
                    <a:pt x="186143" y="212763"/>
                  </a:lnTo>
                  <a:close/>
                </a:path>
                <a:path w="213360" h="771525">
                  <a:moveTo>
                    <a:pt x="186143" y="53200"/>
                  </a:moveTo>
                  <a:lnTo>
                    <a:pt x="159562" y="53200"/>
                  </a:lnTo>
                  <a:lnTo>
                    <a:pt x="159562" y="106387"/>
                  </a:lnTo>
                  <a:lnTo>
                    <a:pt x="159562" y="186169"/>
                  </a:lnTo>
                  <a:lnTo>
                    <a:pt x="186143" y="186169"/>
                  </a:lnTo>
                  <a:lnTo>
                    <a:pt x="186143" y="106387"/>
                  </a:lnTo>
                  <a:lnTo>
                    <a:pt x="186143" y="53200"/>
                  </a:lnTo>
                  <a:close/>
                </a:path>
                <a:path w="213360" h="771525">
                  <a:moveTo>
                    <a:pt x="186143" y="0"/>
                  </a:moveTo>
                  <a:lnTo>
                    <a:pt x="159562" y="0"/>
                  </a:lnTo>
                  <a:lnTo>
                    <a:pt x="159562" y="53187"/>
                  </a:lnTo>
                  <a:lnTo>
                    <a:pt x="186143" y="53187"/>
                  </a:lnTo>
                  <a:lnTo>
                    <a:pt x="186143" y="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732CC9CA-FEBE-0903-7F30-FCE1227BCEC4}"/>
                </a:ext>
              </a:extLst>
            </p:cNvPr>
            <p:cNvSpPr/>
            <p:nvPr/>
          </p:nvSpPr>
          <p:spPr>
            <a:xfrm>
              <a:off x="5699404" y="4693361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765377CA-66EC-0653-CD07-DD50E01D16B6}"/>
                </a:ext>
              </a:extLst>
            </p:cNvPr>
            <p:cNvSpPr/>
            <p:nvPr/>
          </p:nvSpPr>
          <p:spPr>
            <a:xfrm>
              <a:off x="5686107" y="4533785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26593" y="744651"/>
                  </a:moveTo>
                  <a:lnTo>
                    <a:pt x="0" y="744651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744651"/>
                  </a:lnTo>
                  <a:close/>
                </a:path>
                <a:path w="106679" h="771525">
                  <a:moveTo>
                    <a:pt x="26593" y="691464"/>
                  </a:moveTo>
                  <a:lnTo>
                    <a:pt x="0" y="691464"/>
                  </a:lnTo>
                  <a:lnTo>
                    <a:pt x="0" y="718058"/>
                  </a:lnTo>
                  <a:lnTo>
                    <a:pt x="26593" y="718058"/>
                  </a:lnTo>
                  <a:lnTo>
                    <a:pt x="26593" y="691464"/>
                  </a:lnTo>
                  <a:close/>
                </a:path>
                <a:path w="106679" h="771525">
                  <a:moveTo>
                    <a:pt x="26593" y="638276"/>
                  </a:moveTo>
                  <a:lnTo>
                    <a:pt x="0" y="638276"/>
                  </a:lnTo>
                  <a:lnTo>
                    <a:pt x="0" y="664870"/>
                  </a:lnTo>
                  <a:lnTo>
                    <a:pt x="26593" y="664870"/>
                  </a:lnTo>
                  <a:lnTo>
                    <a:pt x="26593" y="638276"/>
                  </a:lnTo>
                  <a:close/>
                </a:path>
                <a:path w="106679" h="771525">
                  <a:moveTo>
                    <a:pt x="79794" y="558495"/>
                  </a:moveTo>
                  <a:lnTo>
                    <a:pt x="53200" y="558495"/>
                  </a:lnTo>
                  <a:lnTo>
                    <a:pt x="53200" y="452120"/>
                  </a:lnTo>
                  <a:lnTo>
                    <a:pt x="26606" y="452120"/>
                  </a:lnTo>
                  <a:lnTo>
                    <a:pt x="26606" y="664895"/>
                  </a:lnTo>
                  <a:lnTo>
                    <a:pt x="53200" y="664895"/>
                  </a:lnTo>
                  <a:lnTo>
                    <a:pt x="53200" y="691464"/>
                  </a:lnTo>
                  <a:lnTo>
                    <a:pt x="26606" y="691464"/>
                  </a:lnTo>
                  <a:lnTo>
                    <a:pt x="26606" y="771245"/>
                  </a:lnTo>
                  <a:lnTo>
                    <a:pt x="53200" y="771245"/>
                  </a:lnTo>
                  <a:lnTo>
                    <a:pt x="53200" y="744651"/>
                  </a:lnTo>
                  <a:lnTo>
                    <a:pt x="79794" y="744651"/>
                  </a:lnTo>
                  <a:lnTo>
                    <a:pt x="79794" y="664870"/>
                  </a:lnTo>
                  <a:lnTo>
                    <a:pt x="53200" y="664870"/>
                  </a:lnTo>
                  <a:lnTo>
                    <a:pt x="53200" y="611682"/>
                  </a:lnTo>
                  <a:lnTo>
                    <a:pt x="79794" y="611682"/>
                  </a:lnTo>
                  <a:lnTo>
                    <a:pt x="79794" y="558495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25"/>
                  </a:moveTo>
                  <a:lnTo>
                    <a:pt x="53200" y="372325"/>
                  </a:lnTo>
                  <a:lnTo>
                    <a:pt x="53200" y="345732"/>
                  </a:lnTo>
                  <a:lnTo>
                    <a:pt x="26606" y="345732"/>
                  </a:lnTo>
                  <a:lnTo>
                    <a:pt x="26606" y="398919"/>
                  </a:lnTo>
                  <a:lnTo>
                    <a:pt x="53200" y="398919"/>
                  </a:lnTo>
                  <a:lnTo>
                    <a:pt x="79794" y="398919"/>
                  </a:lnTo>
                  <a:lnTo>
                    <a:pt x="79794" y="372325"/>
                  </a:lnTo>
                  <a:close/>
                </a:path>
                <a:path w="106679" h="771525">
                  <a:moveTo>
                    <a:pt x="79794" y="292544"/>
                  </a:moveTo>
                  <a:lnTo>
                    <a:pt x="53200" y="292544"/>
                  </a:lnTo>
                  <a:lnTo>
                    <a:pt x="53200" y="345732"/>
                  </a:lnTo>
                  <a:lnTo>
                    <a:pt x="79794" y="345732"/>
                  </a:lnTo>
                  <a:lnTo>
                    <a:pt x="79794" y="292544"/>
                  </a:lnTo>
                  <a:close/>
                </a:path>
                <a:path w="106679" h="771525">
                  <a:moveTo>
                    <a:pt x="106387" y="212763"/>
                  </a:moveTo>
                  <a:lnTo>
                    <a:pt x="79794" y="212763"/>
                  </a:lnTo>
                  <a:lnTo>
                    <a:pt x="53200" y="212763"/>
                  </a:lnTo>
                  <a:lnTo>
                    <a:pt x="26606" y="212763"/>
                  </a:lnTo>
                  <a:lnTo>
                    <a:pt x="26606" y="292544"/>
                  </a:lnTo>
                  <a:lnTo>
                    <a:pt x="53200" y="292544"/>
                  </a:lnTo>
                  <a:lnTo>
                    <a:pt x="53200" y="239356"/>
                  </a:lnTo>
                  <a:lnTo>
                    <a:pt x="79794" y="239356"/>
                  </a:lnTo>
                  <a:lnTo>
                    <a:pt x="106387" y="239356"/>
                  </a:lnTo>
                  <a:lnTo>
                    <a:pt x="106387" y="212763"/>
                  </a:lnTo>
                  <a:close/>
                </a:path>
                <a:path w="106679" h="771525">
                  <a:moveTo>
                    <a:pt x="106387" y="159575"/>
                  </a:moveTo>
                  <a:lnTo>
                    <a:pt x="79794" y="159575"/>
                  </a:lnTo>
                  <a:lnTo>
                    <a:pt x="53200" y="159575"/>
                  </a:lnTo>
                  <a:lnTo>
                    <a:pt x="26606" y="159575"/>
                  </a:lnTo>
                  <a:lnTo>
                    <a:pt x="26606" y="186169"/>
                  </a:lnTo>
                  <a:lnTo>
                    <a:pt x="53200" y="186169"/>
                  </a:lnTo>
                  <a:lnTo>
                    <a:pt x="79794" y="186169"/>
                  </a:lnTo>
                  <a:lnTo>
                    <a:pt x="106387" y="186169"/>
                  </a:lnTo>
                  <a:lnTo>
                    <a:pt x="106387" y="159575"/>
                  </a:lnTo>
                  <a:close/>
                </a:path>
                <a:path w="106679" h="771525">
                  <a:moveTo>
                    <a:pt x="106387" y="53200"/>
                  </a:moveTo>
                  <a:lnTo>
                    <a:pt x="79794" y="53200"/>
                  </a:lnTo>
                  <a:lnTo>
                    <a:pt x="53200" y="53200"/>
                  </a:lnTo>
                  <a:lnTo>
                    <a:pt x="26606" y="53200"/>
                  </a:lnTo>
                  <a:lnTo>
                    <a:pt x="26606" y="106387"/>
                  </a:lnTo>
                  <a:lnTo>
                    <a:pt x="26606" y="132981"/>
                  </a:lnTo>
                  <a:lnTo>
                    <a:pt x="53200" y="132981"/>
                  </a:lnTo>
                  <a:lnTo>
                    <a:pt x="79794" y="132981"/>
                  </a:lnTo>
                  <a:lnTo>
                    <a:pt x="106387" y="132981"/>
                  </a:lnTo>
                  <a:lnTo>
                    <a:pt x="106387" y="106387"/>
                  </a:lnTo>
                  <a:lnTo>
                    <a:pt x="106387" y="53200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26606" y="0"/>
                  </a:lnTo>
                  <a:lnTo>
                    <a:pt x="26606" y="26593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C0261B28-56E5-FD58-185E-327DAE05255E}"/>
                </a:ext>
              </a:extLst>
            </p:cNvPr>
            <p:cNvSpPr/>
            <p:nvPr/>
          </p:nvSpPr>
          <p:spPr>
            <a:xfrm>
              <a:off x="5779198" y="48529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31961E76-B0F9-FF65-9C09-058964C6E434}"/>
                </a:ext>
              </a:extLst>
            </p:cNvPr>
            <p:cNvSpPr/>
            <p:nvPr/>
          </p:nvSpPr>
          <p:spPr>
            <a:xfrm>
              <a:off x="5792495" y="4533785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81" y="611682"/>
                  </a:moveTo>
                  <a:lnTo>
                    <a:pt x="0" y="611682"/>
                  </a:lnTo>
                  <a:lnTo>
                    <a:pt x="0" y="744651"/>
                  </a:lnTo>
                  <a:lnTo>
                    <a:pt x="26581" y="744651"/>
                  </a:lnTo>
                  <a:lnTo>
                    <a:pt x="26581" y="611682"/>
                  </a:lnTo>
                  <a:close/>
                </a:path>
                <a:path w="53339" h="744854">
                  <a:moveTo>
                    <a:pt x="26581" y="505307"/>
                  </a:moveTo>
                  <a:lnTo>
                    <a:pt x="0" y="505307"/>
                  </a:lnTo>
                  <a:lnTo>
                    <a:pt x="0" y="585089"/>
                  </a:lnTo>
                  <a:lnTo>
                    <a:pt x="26581" y="585089"/>
                  </a:lnTo>
                  <a:lnTo>
                    <a:pt x="26581" y="505307"/>
                  </a:lnTo>
                  <a:close/>
                </a:path>
                <a:path w="53339" h="744854">
                  <a:moveTo>
                    <a:pt x="26581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81" y="425513"/>
                  </a:lnTo>
                  <a:lnTo>
                    <a:pt x="26581" y="398919"/>
                  </a:lnTo>
                  <a:close/>
                </a:path>
                <a:path w="53339" h="744854">
                  <a:moveTo>
                    <a:pt x="26581" y="292544"/>
                  </a:moveTo>
                  <a:lnTo>
                    <a:pt x="0" y="292544"/>
                  </a:lnTo>
                  <a:lnTo>
                    <a:pt x="0" y="319138"/>
                  </a:lnTo>
                  <a:lnTo>
                    <a:pt x="26581" y="319138"/>
                  </a:lnTo>
                  <a:lnTo>
                    <a:pt x="26581" y="292544"/>
                  </a:lnTo>
                  <a:close/>
                </a:path>
                <a:path w="53339" h="744854">
                  <a:moveTo>
                    <a:pt x="26581" y="159575"/>
                  </a:moveTo>
                  <a:lnTo>
                    <a:pt x="0" y="159575"/>
                  </a:lnTo>
                  <a:lnTo>
                    <a:pt x="0" y="186169"/>
                  </a:lnTo>
                  <a:lnTo>
                    <a:pt x="26581" y="186169"/>
                  </a:lnTo>
                  <a:lnTo>
                    <a:pt x="26581" y="159575"/>
                  </a:lnTo>
                  <a:close/>
                </a:path>
                <a:path w="53339" h="744854">
                  <a:moveTo>
                    <a:pt x="26581" y="0"/>
                  </a:moveTo>
                  <a:lnTo>
                    <a:pt x="0" y="0"/>
                  </a:lnTo>
                  <a:lnTo>
                    <a:pt x="0" y="26593"/>
                  </a:lnTo>
                  <a:lnTo>
                    <a:pt x="26581" y="26593"/>
                  </a:lnTo>
                  <a:lnTo>
                    <a:pt x="26581" y="0"/>
                  </a:lnTo>
                  <a:close/>
                </a:path>
                <a:path w="53339" h="744854">
                  <a:moveTo>
                    <a:pt x="53187" y="611682"/>
                  </a:moveTo>
                  <a:lnTo>
                    <a:pt x="26593" y="611682"/>
                  </a:lnTo>
                  <a:lnTo>
                    <a:pt x="26593" y="691464"/>
                  </a:lnTo>
                  <a:lnTo>
                    <a:pt x="53187" y="691464"/>
                  </a:lnTo>
                  <a:lnTo>
                    <a:pt x="53187" y="611682"/>
                  </a:lnTo>
                  <a:close/>
                </a:path>
                <a:path w="53339" h="744854">
                  <a:moveTo>
                    <a:pt x="53187" y="531901"/>
                  </a:moveTo>
                  <a:lnTo>
                    <a:pt x="26593" y="531901"/>
                  </a:lnTo>
                  <a:lnTo>
                    <a:pt x="26593" y="585089"/>
                  </a:lnTo>
                  <a:lnTo>
                    <a:pt x="53187" y="585089"/>
                  </a:lnTo>
                  <a:lnTo>
                    <a:pt x="53187" y="531901"/>
                  </a:lnTo>
                  <a:close/>
                </a:path>
                <a:path w="53339" h="744854">
                  <a:moveTo>
                    <a:pt x="53187" y="452120"/>
                  </a:moveTo>
                  <a:lnTo>
                    <a:pt x="26593" y="452120"/>
                  </a:lnTo>
                  <a:lnTo>
                    <a:pt x="26593" y="478713"/>
                  </a:lnTo>
                  <a:lnTo>
                    <a:pt x="53187" y="478713"/>
                  </a:lnTo>
                  <a:lnTo>
                    <a:pt x="53187" y="452120"/>
                  </a:lnTo>
                  <a:close/>
                </a:path>
                <a:path w="53339" h="744854">
                  <a:moveTo>
                    <a:pt x="53187" y="345732"/>
                  </a:moveTo>
                  <a:lnTo>
                    <a:pt x="26593" y="345732"/>
                  </a:lnTo>
                  <a:lnTo>
                    <a:pt x="26593" y="372325"/>
                  </a:lnTo>
                  <a:lnTo>
                    <a:pt x="53187" y="372325"/>
                  </a:lnTo>
                  <a:lnTo>
                    <a:pt x="53187" y="345732"/>
                  </a:lnTo>
                  <a:close/>
                </a:path>
                <a:path w="53339" h="744854">
                  <a:moveTo>
                    <a:pt x="53187" y="239356"/>
                  </a:moveTo>
                  <a:lnTo>
                    <a:pt x="26593" y="239356"/>
                  </a:lnTo>
                  <a:lnTo>
                    <a:pt x="26593" y="265950"/>
                  </a:lnTo>
                  <a:lnTo>
                    <a:pt x="53187" y="265950"/>
                  </a:lnTo>
                  <a:lnTo>
                    <a:pt x="53187" y="239356"/>
                  </a:lnTo>
                  <a:close/>
                </a:path>
                <a:path w="53339" h="744854">
                  <a:moveTo>
                    <a:pt x="53187" y="53200"/>
                  </a:moveTo>
                  <a:lnTo>
                    <a:pt x="26593" y="53200"/>
                  </a:lnTo>
                  <a:lnTo>
                    <a:pt x="26593" y="106387"/>
                  </a:lnTo>
                  <a:lnTo>
                    <a:pt x="26593" y="186169"/>
                  </a:lnTo>
                  <a:lnTo>
                    <a:pt x="53187" y="186169"/>
                  </a:lnTo>
                  <a:lnTo>
                    <a:pt x="53187" y="106387"/>
                  </a:lnTo>
                  <a:lnTo>
                    <a:pt x="53187" y="53200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42539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53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484748"/>
          </a:xfrm>
        </p:spPr>
        <p:txBody>
          <a:bodyPr vert="horz" anchor="t"/>
          <a:lstStyle>
            <a:lvl1pPr algn="l">
              <a:defRPr sz="35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5475" y="4221088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" name="Grafik 23">
            <a:extLst>
              <a:ext uri="{FF2B5EF4-FFF2-40B4-BE49-F238E27FC236}">
                <a16:creationId xmlns:a16="http://schemas.microsoft.com/office/drawing/2014/main" id="{ECAAF0B7-8F0D-E581-AA18-7927B486506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218443"/>
            <a:ext cx="1296000" cy="223871"/>
            <a:chOff x="3042261" y="4495188"/>
            <a:chExt cx="3720761" cy="642716"/>
          </a:xfrm>
          <a:solidFill>
            <a:schemeClr val="tx1"/>
          </a:solidFill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332C9884-0FB9-516E-0A27-F260580633A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25C3C52-FB1B-CF0E-3ED3-0C9D96F7E99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BFD1CFD-F5E4-B30C-8C70-1963A8F3BFB8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332EBED2-617A-BC87-F3C8-457AAE9E2DA3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9AB917F-F2FA-233A-BA7C-87D45520EEC5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602FF4F-D119-74DD-664D-CEC0D70FB3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807A905-8172-1818-3DB8-D4BBAE7B9BA9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62187646-A1C3-195A-E563-00757FF02C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1"/>
          </a:solidFill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833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49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42B281DF-0E81-FBF7-D86A-123394EBB4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5299EDE-E8D1-3A63-C6B8-2700229E2DED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EF5E381-C375-6101-B9A0-C1F80C792BB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E05E407-C6DF-08CC-4F3A-2CA60220EB7D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1516811-FCE2-0660-666D-A2D732740889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E398B7D-13B2-305A-4225-66B9B685EE4A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9672878-1605-C083-EE32-74BE4AC292B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B5FC74D8-4B15-4212-19F6-68E4D1C9A50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12F03A-E39C-E683-E858-F86B1B9E0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7F22B3-5636-6464-4865-6D0E3C533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02063C-981A-23CB-2A93-F6BA60F09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153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7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tx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3026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050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537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76156B-F280-BB3C-B842-C614C764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09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CC8F393-2D7B-6D19-5155-C216F9EB9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FAC815C-C4FD-2740-8B52-BB05F7C4B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40BEA59-9BB3-5559-EF17-D7C7237D6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9652B59-D1C8-A7CD-3CCF-17F6C41D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34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459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160838-16FC-145C-39CA-83F1101FBC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EE8913-A495-FC86-109A-4C4FB9AC8C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8B6877D-9AD0-EBC6-8232-5DD7BD838D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3111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142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C5ACDE0-8F5B-2873-7696-3E5B65A807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62621ACC-714D-2030-8B80-BEFFBCF7FC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29A95247-8BF6-D414-D1F5-023D27CB4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4377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3163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F41598-3133-DEA5-4B4A-F97352D0E71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056E14-C148-45DE-8E76-D62ABCF062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7F5AA81-389D-43B3-8365-FD92204D48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12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75BFF54-B045-6376-ABED-8AFA545708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31282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4CB42BA-7FFF-86C8-18C9-00F876BC1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B79CC4-B984-FE07-86DB-E27C14A76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2060847"/>
            <a:ext cx="11376024" cy="4116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CDB560-0E26-E7F2-8CA3-0FFCF92C46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53373" y="6492746"/>
            <a:ext cx="436017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DD9D6-4010-119B-0CC2-1F63BEF6A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8120" y="6492746"/>
            <a:ext cx="6359135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F44F7-14B7-8278-989A-9F73D443C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0820" y="6492746"/>
            <a:ext cx="423193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5" name="Grafik 23">
            <a:extLst>
              <a:ext uri="{FF2B5EF4-FFF2-40B4-BE49-F238E27FC236}">
                <a16:creationId xmlns:a16="http://schemas.microsoft.com/office/drawing/2014/main" id="{29918631-BB4F-59CB-4917-BE599DCE312F}"/>
              </a:ext>
            </a:extLst>
          </p:cNvPr>
          <p:cNvGrpSpPr>
            <a:grpSpLocks noChangeAspect="1"/>
          </p:cNvGrpSpPr>
          <p:nvPr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rgbClr val="000000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AC0925B-28CE-EA29-731C-C0B118FEC246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B8EAEE7B-80B6-D6A9-D6D1-3F8A52E28F73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97AFB68-5C03-9A94-09FB-8B26E0904172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C507CE7-DE89-2A8D-5D29-1AD341EB9EDD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89D461FE-5E43-B00E-E8C0-A1978EB493EF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ACF5C9E7-77CE-223A-ABAA-AFD3B4FFADB7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66EDD426-97E7-1CE8-38E4-0C02D9614F2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194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60" r:id="rId3"/>
    <p:sldLayoutId id="2147483661" r:id="rId4"/>
    <p:sldLayoutId id="2147483650" r:id="rId5"/>
    <p:sldLayoutId id="2147483654" r:id="rId6"/>
    <p:sldLayoutId id="2147483659" r:id="rId7"/>
    <p:sldLayoutId id="2147483664" r:id="rId8"/>
    <p:sldLayoutId id="2147483669" r:id="rId9"/>
    <p:sldLayoutId id="2147483670" r:id="rId10"/>
    <p:sldLayoutId id="2147483662" r:id="rId11"/>
    <p:sldLayoutId id="2147483666" r:id="rId12"/>
    <p:sldLayoutId id="2147483655" r:id="rId13"/>
    <p:sldLayoutId id="2147483665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1298" userDrawn="1">
          <p15:clr>
            <a:srgbClr val="F26B43"/>
          </p15:clr>
        </p15:guide>
        <p15:guide id="6" orient="horz" pos="3906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22.xml"/><Relationship Id="rId21" Type="http://schemas.openxmlformats.org/officeDocument/2006/relationships/image" Target="../media/image7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6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0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9.png"/><Relationship Id="rId10" Type="http://schemas.openxmlformats.org/officeDocument/2006/relationships/tags" Target="../tags/tag29.xml"/><Relationship Id="rId19" Type="http://schemas.openxmlformats.org/officeDocument/2006/relationships/image" Target="../media/image1.emf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8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13.png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12.png"/><Relationship Id="rId2" Type="http://schemas.openxmlformats.org/officeDocument/2006/relationships/tags" Target="../tags/tag40.xml"/><Relationship Id="rId16" Type="http://schemas.openxmlformats.org/officeDocument/2006/relationships/image" Target="../media/image1.emf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48.xml"/><Relationship Id="rId19" Type="http://schemas.openxmlformats.org/officeDocument/2006/relationships/image" Target="../media/image14.pn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notesSlide" Target="../notesSlides/notesSlide4.xml"/><Relationship Id="rId18" Type="http://schemas.openxmlformats.org/officeDocument/2006/relationships/image" Target="../media/image17.pn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16.png"/><Relationship Id="rId2" Type="http://schemas.openxmlformats.org/officeDocument/2006/relationships/tags" Target="../tags/tag52.xml"/><Relationship Id="rId16" Type="http://schemas.openxmlformats.org/officeDocument/2006/relationships/image" Target="../media/image15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image" Target="../media/image1.emf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image" Target="../media/image1.emf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63.xml"/><Relationship Id="rId16" Type="http://schemas.openxmlformats.org/officeDocument/2006/relationships/notesSlide" Target="../notesSlides/notesSlide5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71.xml"/><Relationship Id="rId19" Type="http://schemas.openxmlformats.org/officeDocument/2006/relationships/chart" Target="../charts/chart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34" Type="http://schemas.openxmlformats.org/officeDocument/2006/relationships/image" Target="../media/image22.png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33" Type="http://schemas.openxmlformats.org/officeDocument/2006/relationships/image" Target="../media/image21.png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image" Target="../media/image1.emf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32" Type="http://schemas.openxmlformats.org/officeDocument/2006/relationships/image" Target="../media/image20.png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oleObject" Target="../embeddings/oleObject22.bin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31" Type="http://schemas.openxmlformats.org/officeDocument/2006/relationships/image" Target="../media/image19.png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notesSlide" Target="../notesSlides/notesSlide6.xml"/><Relationship Id="rId30" Type="http://schemas.openxmlformats.org/officeDocument/2006/relationships/image" Target="../media/image18.png"/><Relationship Id="rId35" Type="http://schemas.openxmlformats.org/officeDocument/2006/relationships/image" Target="../media/image23.png"/><Relationship Id="rId8" Type="http://schemas.openxmlformats.org/officeDocument/2006/relationships/tags" Target="../tags/tag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E38C098-E511-202F-B709-2B7ABE8B4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558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E38C098-E511-202F-B709-2B7ABE8B4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929EF34-08D0-914A-BD20-42EDA9681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urzanleitung (1/6)</a:t>
            </a:r>
            <a:endParaRPr lang="en-US" dirty="0"/>
          </a:p>
        </p:txBody>
      </p:sp>
      <p:cxnSp>
        <p:nvCxnSpPr>
          <p:cNvPr id="8" name="Rak 16">
            <a:extLst>
              <a:ext uri="{FF2B5EF4-FFF2-40B4-BE49-F238E27FC236}">
                <a16:creationId xmlns:a16="http://schemas.microsoft.com/office/drawing/2014/main" id="{886622D0-3F35-20B1-2DC8-C83AF869B835}"/>
              </a:ext>
            </a:extLst>
          </p:cNvPr>
          <p:cNvCxnSpPr>
            <a:cxnSpLocks/>
          </p:cNvCxnSpPr>
          <p:nvPr/>
        </p:nvCxnSpPr>
        <p:spPr>
          <a:xfrm>
            <a:off x="7592590" y="2060847"/>
            <a:ext cx="0" cy="38893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ruta 6">
            <a:extLst>
              <a:ext uri="{FF2B5EF4-FFF2-40B4-BE49-F238E27FC236}">
                <a16:creationId xmlns:a16="http://schemas.microsoft.com/office/drawing/2014/main" id="{7B8A91FB-2F69-781C-22D8-B05F41EAF0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7989" y="2060847"/>
            <a:ext cx="4691173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Nutzen Sie immer die vordefinierten Layouts</a:t>
            </a:r>
          </a:p>
        </p:txBody>
      </p:sp>
      <p:sp>
        <p:nvSpPr>
          <p:cNvPr id="10" name="textruta 10">
            <a:extLst>
              <a:ext uri="{FF2B5EF4-FFF2-40B4-BE49-F238E27FC236}">
                <a16:creationId xmlns:a16="http://schemas.microsoft.com/office/drawing/2014/main" id="{418BB38F-9ABF-4E26-8364-4793A63D0D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989" y="3324070"/>
            <a:ext cx="136684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Klicken Sie auf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lang="de-DE" sz="1200" dirty="0"/>
              <a:t>Neue Folie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, um verschiedene Layouts </a:t>
            </a:r>
            <a:r>
              <a:rPr kumimoji="0" lang="de-DE" sz="1200" b="0" i="0" u="none" strike="noStrike" kern="1200" cap="none" normalizeH="0" baseline="0" noProof="0" dirty="0" err="1">
                <a:ln>
                  <a:noFill/>
                </a:ln>
                <a:effectLst/>
                <a:uLnTx/>
                <a:uFillTx/>
              </a:rPr>
              <a:t>auszu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-wählen.</a:t>
            </a:r>
          </a:p>
        </p:txBody>
      </p:sp>
      <p:sp>
        <p:nvSpPr>
          <p:cNvPr id="11" name="textruta 15">
            <a:extLst>
              <a:ext uri="{FF2B5EF4-FFF2-40B4-BE49-F238E27FC236}">
                <a16:creationId xmlns:a16="http://schemas.microsoft.com/office/drawing/2014/main" id="{CC3C6BC7-4B2E-0660-2E6C-AA1035E93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912257" y="2524191"/>
            <a:ext cx="20213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Klicken Sie auf </a:t>
            </a:r>
            <a:r>
              <a:rPr kumimoji="0" lang="de-DE" sz="120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Layout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, um das Layout auf einer bestehenden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Seite zu ändern.</a:t>
            </a:r>
          </a:p>
        </p:txBody>
      </p:sp>
      <p:sp>
        <p:nvSpPr>
          <p:cNvPr id="12" name="textruta 34">
            <a:extLst>
              <a:ext uri="{FF2B5EF4-FFF2-40B4-BE49-F238E27FC236}">
                <a16:creationId xmlns:a16="http://schemas.microsoft.com/office/drawing/2014/main" id="{EF618B75-0990-83D1-BC77-D8AEE3FB287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12257" y="4413624"/>
            <a:ext cx="202131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Klicken Sie auf die Schaltfläche </a:t>
            </a:r>
            <a:r>
              <a:rPr lang="de-DE" sz="1200" dirty="0"/>
              <a:t>Zurücksetzen</a:t>
            </a: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, um das Aussehen der Seite entsprechend der Vorlage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auf das ursprüngliche </a:t>
            </a:r>
            <a:b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</a:rPr>
              <a:t>Layout zurückzusetzen. </a:t>
            </a:r>
          </a:p>
        </p:txBody>
      </p:sp>
      <p:pic>
        <p:nvPicPr>
          <p:cNvPr id="13" name="Bildobjekt 91">
            <a:extLst>
              <a:ext uri="{FF2B5EF4-FFF2-40B4-BE49-F238E27FC236}">
                <a16:creationId xmlns:a16="http://schemas.microsoft.com/office/drawing/2014/main" id="{56D7C703-41AC-D7B5-EBD7-00FDBE6167C0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/>
          <a:stretch/>
        </p:blipFill>
        <p:spPr>
          <a:xfrm>
            <a:off x="2078890" y="3280198"/>
            <a:ext cx="1342574" cy="891984"/>
          </a:xfrm>
          <a:prstGeom prst="rect">
            <a:avLst/>
          </a:prstGeom>
          <a:ln>
            <a:noFill/>
          </a:ln>
        </p:spPr>
      </p:pic>
      <p:sp>
        <p:nvSpPr>
          <p:cNvPr id="14" name="Oval 4">
            <a:extLst>
              <a:ext uri="{FF2B5EF4-FFF2-40B4-BE49-F238E27FC236}">
                <a16:creationId xmlns:a16="http://schemas.microsoft.com/office/drawing/2014/main" id="{76A93A96-05CA-A7EE-30F9-5F911CCEF05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22185" y="3517128"/>
            <a:ext cx="894977" cy="216704"/>
          </a:xfrm>
          <a:prstGeom prst="rect">
            <a:avLst/>
          </a:prstGeom>
          <a:solidFill>
            <a:schemeClr val="tx2">
              <a:alpha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6F0EDB4-4651-AACE-65DE-45846A797FE3}"/>
              </a:ext>
            </a:extLst>
          </p:cNvPr>
          <p:cNvCxnSpPr>
            <a:cxnSpLocks/>
          </p:cNvCxnSpPr>
          <p:nvPr/>
        </p:nvCxnSpPr>
        <p:spPr>
          <a:xfrm flipV="1">
            <a:off x="3037280" y="3131622"/>
            <a:ext cx="0" cy="1389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4">
            <a:extLst>
              <a:ext uri="{FF2B5EF4-FFF2-40B4-BE49-F238E27FC236}">
                <a16:creationId xmlns:a16="http://schemas.microsoft.com/office/drawing/2014/main" id="{869405BF-33C1-3F60-80B8-A661946D9D1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522185" y="3297287"/>
            <a:ext cx="894977" cy="216704"/>
          </a:xfrm>
          <a:prstGeom prst="rect">
            <a:avLst/>
          </a:prstGeom>
          <a:solidFill>
            <a:schemeClr val="tx2">
              <a:alpha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17" name="Oval 4">
            <a:extLst>
              <a:ext uri="{FF2B5EF4-FFF2-40B4-BE49-F238E27FC236}">
                <a16:creationId xmlns:a16="http://schemas.microsoft.com/office/drawing/2014/main" id="{AF7F64B8-13F4-ABD3-D350-EC1B1C7E518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070397" y="3297287"/>
            <a:ext cx="408706" cy="682145"/>
          </a:xfrm>
          <a:prstGeom prst="rect">
            <a:avLst/>
          </a:prstGeom>
          <a:solidFill>
            <a:schemeClr val="tx2">
              <a:alpha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D7B582-8EE0-81F1-47A4-6BBB19DE4451}"/>
              </a:ext>
            </a:extLst>
          </p:cNvPr>
          <p:cNvCxnSpPr>
            <a:cxnSpLocks/>
          </p:cNvCxnSpPr>
          <p:nvPr/>
        </p:nvCxnSpPr>
        <p:spPr>
          <a:xfrm>
            <a:off x="2868238" y="4216550"/>
            <a:ext cx="0" cy="1888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E2467178-A898-392C-F6C1-B4DC41E0F840}"/>
              </a:ext>
            </a:extLst>
          </p:cNvPr>
          <p:cNvCxnSpPr>
            <a:cxnSpLocks/>
          </p:cNvCxnSpPr>
          <p:nvPr/>
        </p:nvCxnSpPr>
        <p:spPr>
          <a:xfrm>
            <a:off x="1928492" y="3493925"/>
            <a:ext cx="1419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ruta 57">
            <a:extLst>
              <a:ext uri="{FF2B5EF4-FFF2-40B4-BE49-F238E27FC236}">
                <a16:creationId xmlns:a16="http://schemas.microsoft.com/office/drawing/2014/main" id="{D074D2B5-BEC2-57C2-0F0C-0927CACD50A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85000" y="2060847"/>
            <a:ext cx="3927624" cy="804323"/>
          </a:xfrm>
          <a:prstGeom prst="rect">
            <a:avLst/>
          </a:prstGeom>
          <a:noFill/>
        </p:spPr>
        <p:txBody>
          <a:bodyPr wrap="square" lIns="0" tIns="0" rIns="0" bIns="0" numCol="1" spcCol="180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1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Multifunktionale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ie mit Bildplatzhaltern angelegten Layouts lassen sich mehrfach verwend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nivers LT Std 47 Cn Lt" panose="020B0406020202040204" pitchFamily="34" charset="0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E618508-59C5-A3AD-2F60-53158E1E584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785000" y="3074014"/>
            <a:ext cx="426077" cy="412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F0672B2-B749-BEE1-33D4-9A4CD4B3AE5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363642" y="3052999"/>
            <a:ext cx="5418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Mit Bild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B358A37-F57B-84C1-D7BA-DAF5B9C1C68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785000" y="5467231"/>
            <a:ext cx="426077" cy="412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prstClr val="white"/>
                </a:solidFill>
              </a:rPr>
              <a:t>3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07998EE-37EB-45FF-AFBB-C09EDBA3653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367754" y="5446214"/>
            <a:ext cx="204633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Mit grafischen </a:t>
            </a:r>
            <a:b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</a:b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Elementen/</a:t>
            </a:r>
            <a:b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</a:b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Illustrationen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100C2DC-DD30-CD40-B18C-291CD29D8604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/>
        </p:blipFill>
        <p:spPr>
          <a:xfrm>
            <a:off x="4254286" y="3042562"/>
            <a:ext cx="3145565" cy="3180438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930A0BB-30D3-9FD0-7EB6-628792B74FB2}"/>
              </a:ext>
            </a:extLst>
          </p:cNvPr>
          <p:cNvGrpSpPr/>
          <p:nvPr/>
        </p:nvGrpSpPr>
        <p:grpSpPr>
          <a:xfrm>
            <a:off x="9989241" y="3042562"/>
            <a:ext cx="1794772" cy="3158213"/>
            <a:chOff x="9788788" y="3042562"/>
            <a:chExt cx="1995225" cy="3510944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35FCC5A6-6FAF-F036-2C74-E02E1EF5F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788788" y="4236877"/>
              <a:ext cx="1995225" cy="1122314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C6CDFC99-D9FC-7F4D-5310-830B03478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9788788" y="5431192"/>
              <a:ext cx="1995225" cy="1122314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30077003-E59D-3210-620E-E54D8C4AEE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9788788" y="3042562"/>
              <a:ext cx="1995225" cy="1122314"/>
            </a:xfrm>
            <a:prstGeom prst="rect">
              <a:avLst/>
            </a:prstGeom>
          </p:spPr>
        </p:pic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53D42B5A-6B5E-C87D-68AF-EB624D2B2EE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785000" y="4289292"/>
            <a:ext cx="426077" cy="412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.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5E4CE748-F9B8-6DAC-118C-591B0A26221C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367755" y="4268274"/>
            <a:ext cx="12746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Ganz ohne weitere Element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0380D-ACAE-624B-4D99-79CD445BF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3BD979-A584-8CAE-8AE2-E1E9F1B4F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9433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9A543A9-2818-B8BF-5B65-344F2A6E5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96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92" imgH="591" progId="TCLayout.ActiveDocument.1">
                  <p:embed/>
                </p:oleObj>
              </mc:Choice>
              <mc:Fallback>
                <p:oleObj name="think-cell Folie" r:id="rId7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9A543A9-2818-B8BF-5B65-344F2A6E5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862D62-4293-2A0A-2E65-17221DAD3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urzanleitung (2/6)</a:t>
            </a:r>
            <a:endParaRPr lang="en-US" dirty="0"/>
          </a:p>
        </p:txBody>
      </p:sp>
      <p:sp>
        <p:nvSpPr>
          <p:cNvPr id="9" name="textruta 57">
            <a:extLst>
              <a:ext uri="{FF2B5EF4-FFF2-40B4-BE49-F238E27FC236}">
                <a16:creationId xmlns:a16="http://schemas.microsoft.com/office/drawing/2014/main" id="{0C2BA28A-74B5-BEAE-0C05-1AC40A94043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28411" y="2060847"/>
            <a:ext cx="7355601" cy="1035155"/>
          </a:xfrm>
          <a:prstGeom prst="rect">
            <a:avLst/>
          </a:prstGeom>
          <a:noFill/>
        </p:spPr>
        <p:txBody>
          <a:bodyPr wrap="square" lIns="0" tIns="0" rIns="0" bIns="0" numCol="1" spcCol="18000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Listenebene für Textplatzhalter / Wahl der verschiedenen Schriftschnit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Verwenden Sie für den Wechsel der Schriftschnitte auf den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extseiten </a:t>
            </a:r>
            <a: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mit Platzhaltern die Schaltflächen Listenebene </a:t>
            </a:r>
            <a:b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erhöhen/verringern</a:t>
            </a:r>
            <a:b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Erstellen Sie keine eigenen Aufzählungszeichen.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CC1EE16-A6B1-2896-F30F-CF7AFF58329A}"/>
              </a:ext>
            </a:extLst>
          </p:cNvPr>
          <p:cNvGrpSpPr/>
          <p:nvPr/>
        </p:nvGrpSpPr>
        <p:grpSpPr>
          <a:xfrm>
            <a:off x="9120563" y="2385084"/>
            <a:ext cx="2663449" cy="1383952"/>
            <a:chOff x="6231760" y="4708416"/>
            <a:chExt cx="1312797" cy="704070"/>
          </a:xfrm>
        </p:grpSpPr>
        <p:pic>
          <p:nvPicPr>
            <p:cNvPr id="12" name="Picture 99">
              <a:extLst>
                <a:ext uri="{FF2B5EF4-FFF2-40B4-BE49-F238E27FC236}">
                  <a16:creationId xmlns:a16="http://schemas.microsoft.com/office/drawing/2014/main" id="{9CE3247E-B421-5140-B127-B6A303D5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31760" y="4708416"/>
              <a:ext cx="1312797" cy="704070"/>
            </a:xfrm>
            <a:prstGeom prst="rect">
              <a:avLst/>
            </a:prstGeom>
          </p:spPr>
        </p:pic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8490DA67-98A2-FA02-3860-404D4E50063D}"/>
                </a:ext>
              </a:extLst>
            </p:cNvPr>
            <p:cNvSpPr/>
            <p:nvPr/>
          </p:nvSpPr>
          <p:spPr>
            <a:xfrm>
              <a:off x="6789011" y="4785475"/>
              <a:ext cx="464283" cy="241538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cxnSp>
          <p:nvCxnSpPr>
            <p:cNvPr id="14" name="Straight Connector 102">
              <a:extLst>
                <a:ext uri="{FF2B5EF4-FFF2-40B4-BE49-F238E27FC236}">
                  <a16:creationId xmlns:a16="http://schemas.microsoft.com/office/drawing/2014/main" id="{9C5CA76E-342A-2D43-9B63-1312B8CB97B1}"/>
                </a:ext>
              </a:extLst>
            </p:cNvPr>
            <p:cNvCxnSpPr>
              <a:cxnSpLocks/>
            </p:cNvCxnSpPr>
            <p:nvPr/>
          </p:nvCxnSpPr>
          <p:spPr>
            <a:xfrm>
              <a:off x="6247126" y="4755150"/>
              <a:ext cx="248997" cy="248997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ruta 57">
            <a:extLst>
              <a:ext uri="{FF2B5EF4-FFF2-40B4-BE49-F238E27FC236}">
                <a16:creationId xmlns:a16="http://schemas.microsoft.com/office/drawing/2014/main" id="{69516613-5FB1-AF86-B85E-84B9A48962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990" y="2060847"/>
            <a:ext cx="3724096" cy="664734"/>
          </a:xfrm>
          <a:prstGeom prst="rect">
            <a:avLst/>
          </a:prstGeom>
          <a:noFill/>
        </p:spPr>
        <p:txBody>
          <a:bodyPr wrap="none" lIns="0" tIns="0" rIns="0" bIns="0" numCol="1" spcCol="180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sz="1600" spc="10" dirty="0">
                <a:latin typeface="+mj-lt"/>
              </a:rPr>
              <a:t>Voreingerichtete Textplatzhalter</a:t>
            </a:r>
            <a:br>
              <a:rPr kumimoji="0" lang="de-DE" sz="1600" b="0" i="0" u="none" strike="noStrike" kern="1200" cap="none" spc="10" normalizeH="0" baseline="0" noProof="0" dirty="0">
                <a:ln>
                  <a:noFill/>
                </a:ln>
                <a:solidFill>
                  <a:srgbClr val="DF0B25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er Textplatzhalter sind mit der Hausschrift 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Univers LT Std 47 Cn Lt</a:t>
            </a:r>
            <a:b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voreingerichtet:</a:t>
            </a:r>
          </a:p>
        </p:txBody>
      </p:sp>
      <p:sp>
        <p:nvSpPr>
          <p:cNvPr id="39" name="Inhaltsplatzhalter 4">
            <a:extLst>
              <a:ext uri="{FF2B5EF4-FFF2-40B4-BE49-F238E27FC236}">
                <a16:creationId xmlns:a16="http://schemas.microsoft.com/office/drawing/2014/main" id="{7DDD6031-9047-6ADB-C10E-3150FFCFFDD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07989" y="2895927"/>
            <a:ext cx="3918616" cy="2039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Erste Ebenen: 20pt,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(Spiegelstrich Aufzählungszeichen)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Zweite Ebene: 20pt,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(Spiegelstrich Aufzählungszeichen)</a:t>
            </a:r>
          </a:p>
          <a:p>
            <a:pPr marL="360000" lvl="1" indent="-180000">
              <a:buFont typeface="Symbol" panose="05050102010706020507" pitchFamily="18" charset="2"/>
              <a:buChar char="-"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Dritte Ebene: 20pt,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vers LT Std 47 Cn Lt"/>
                <a:ea typeface="+mn-ea"/>
                <a:cs typeface="+mn-cs"/>
              </a:rPr>
              <a:t>(Spiegelstrich Aufzählungszeichen)</a:t>
            </a:r>
          </a:p>
        </p:txBody>
      </p:sp>
      <p:cxnSp>
        <p:nvCxnSpPr>
          <p:cNvPr id="3" name="Rak 16">
            <a:extLst>
              <a:ext uri="{FF2B5EF4-FFF2-40B4-BE49-F238E27FC236}">
                <a16:creationId xmlns:a16="http://schemas.microsoft.com/office/drawing/2014/main" id="{E74932B3-7C2E-9063-B557-2FE40A581E5C}"/>
              </a:ext>
            </a:extLst>
          </p:cNvPr>
          <p:cNvCxnSpPr>
            <a:cxnSpLocks/>
          </p:cNvCxnSpPr>
          <p:nvPr/>
        </p:nvCxnSpPr>
        <p:spPr>
          <a:xfrm>
            <a:off x="4296000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9B6A35-0A81-3100-6E84-3567F3809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ECA010-6054-B8B4-19F0-CCFE2AFBA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072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F203216-FE08-748D-EB07-49AF58C07B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784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1" progId="TCLayout.ActiveDocument.1">
                  <p:embed/>
                </p:oleObj>
              </mc:Choice>
              <mc:Fallback>
                <p:oleObj name="think-cell Folie" r:id="rId1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F203216-FE08-748D-EB07-49AF58C07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8E57FE-13B8-AC88-55C0-A357A9523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urzanleitung (3/6)</a:t>
            </a:r>
            <a:endParaRPr lang="en-US" dirty="0"/>
          </a:p>
        </p:txBody>
      </p:sp>
      <p:sp>
        <p:nvSpPr>
          <p:cNvPr id="18" name="textruta 37">
            <a:extLst>
              <a:ext uri="{FF2B5EF4-FFF2-40B4-BE49-F238E27FC236}">
                <a16:creationId xmlns:a16="http://schemas.microsoft.com/office/drawing/2014/main" id="{4305B28F-1F2F-C444-A460-A302866000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95782" y="2060847"/>
            <a:ext cx="1943175" cy="256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sz="1600" b="0" dirty="0">
                <a:solidFill>
                  <a:schemeClr val="tx1"/>
                </a:solidFill>
              </a:rPr>
              <a:t>Schriften</a:t>
            </a:r>
          </a:p>
        </p:txBody>
      </p:sp>
      <p:sp>
        <p:nvSpPr>
          <p:cNvPr id="19" name="textruta 28">
            <a:extLst>
              <a:ext uri="{FF2B5EF4-FFF2-40B4-BE49-F238E27FC236}">
                <a16:creationId xmlns:a16="http://schemas.microsoft.com/office/drawing/2014/main" id="{8EDBB738-EA68-30F4-15A7-52520468BC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95780" y="2335599"/>
            <a:ext cx="348218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 PowerPoint-Präsentationen wird als Schriftart die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nivers LT Std 47 Cn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L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(Textkörper) verwendet und für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Hervorhebungen Univers Next Pro Medium </a:t>
            </a:r>
            <a:r>
              <a:rPr kumimoji="0" lang="de-DE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</a:rPr>
              <a:t>Cond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 (Überschriften)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 Bitte nicht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ETTE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!</a:t>
            </a:r>
          </a:p>
        </p:txBody>
      </p:sp>
      <p:cxnSp>
        <p:nvCxnSpPr>
          <p:cNvPr id="21" name="Rak 16">
            <a:extLst>
              <a:ext uri="{FF2B5EF4-FFF2-40B4-BE49-F238E27FC236}">
                <a16:creationId xmlns:a16="http://schemas.microsoft.com/office/drawing/2014/main" id="{AFA18A06-CB5C-37A9-4EBF-33BBED95600C}"/>
              </a:ext>
            </a:extLst>
          </p:cNvPr>
          <p:cNvCxnSpPr>
            <a:cxnSpLocks/>
          </p:cNvCxnSpPr>
          <p:nvPr/>
        </p:nvCxnSpPr>
        <p:spPr>
          <a:xfrm>
            <a:off x="8616000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274357-53A8-3804-0F68-17D52EC763A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95781" y="3208290"/>
            <a:ext cx="3432468" cy="1459655"/>
          </a:xfrm>
          <a:prstGeom prst="rect">
            <a:avLst/>
          </a:prstGeom>
        </p:spPr>
      </p:pic>
      <p:sp>
        <p:nvSpPr>
          <p:cNvPr id="3" name="TextBox 9">
            <a:extLst>
              <a:ext uri="{FF2B5EF4-FFF2-40B4-BE49-F238E27FC236}">
                <a16:creationId xmlns:a16="http://schemas.microsoft.com/office/drawing/2014/main" id="{D14CD4B7-784B-ADF7-744E-22395077B2E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38067" y="6057552"/>
            <a:ext cx="21839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Linie ,75 </a:t>
            </a:r>
            <a:r>
              <a:rPr kumimoji="0" lang="de-DE" sz="1400" b="0" i="0" u="none" strike="noStrike" kern="1200" cap="none" spc="4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pt</a:t>
            </a:r>
            <a:r>
              <a:rPr kumimoji="0" lang="de-DE" sz="14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, schwarz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60647238-6F4D-820C-CB82-77BFBC625565}"/>
              </a:ext>
            </a:extLst>
          </p:cNvPr>
          <p:cNvCxnSpPr/>
          <p:nvPr/>
        </p:nvCxnSpPr>
        <p:spPr>
          <a:xfrm>
            <a:off x="8819502" y="5937880"/>
            <a:ext cx="231254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ruta 57">
            <a:extLst>
              <a:ext uri="{FF2B5EF4-FFF2-40B4-BE49-F238E27FC236}">
                <a16:creationId xmlns:a16="http://schemas.microsoft.com/office/drawing/2014/main" id="{08C02B55-27C1-BEFE-9D01-E041D96DB8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16482" y="2742665"/>
            <a:ext cx="1022909" cy="187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andardform</a:t>
            </a:r>
          </a:p>
        </p:txBody>
      </p:sp>
      <p:sp>
        <p:nvSpPr>
          <p:cNvPr id="16" name="textruta 57">
            <a:extLst>
              <a:ext uri="{FF2B5EF4-FFF2-40B4-BE49-F238E27FC236}">
                <a16:creationId xmlns:a16="http://schemas.microsoft.com/office/drawing/2014/main" id="{F11E0CCF-B429-7437-1EA9-9D3A55629D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816482" y="5700225"/>
            <a:ext cx="974049" cy="187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andardlini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F68192D-98E4-0A3D-DD7C-B918B7A0591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16482" y="3064106"/>
            <a:ext cx="2036716" cy="10479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Schriftgröße 20 </a:t>
            </a:r>
            <a:r>
              <a:rPr lang="de-DE" sz="2000" dirty="0" err="1"/>
              <a:t>pt</a:t>
            </a:r>
            <a:endParaRPr lang="de-DE" sz="2000" dirty="0"/>
          </a:p>
          <a:p>
            <a:pPr algn="ctr"/>
            <a:r>
              <a:rPr lang="de-DE" sz="2000" dirty="0"/>
              <a:t>Farbe blau</a:t>
            </a:r>
            <a:br>
              <a:rPr lang="de-DE" sz="2000" dirty="0"/>
            </a:br>
            <a:r>
              <a:rPr lang="de-DE" sz="2000" dirty="0"/>
              <a:t>Ohne Linie</a:t>
            </a:r>
          </a:p>
        </p:txBody>
      </p:sp>
      <p:sp>
        <p:nvSpPr>
          <p:cNvPr id="36" name="textruta 57">
            <a:extLst>
              <a:ext uri="{FF2B5EF4-FFF2-40B4-BE49-F238E27FC236}">
                <a16:creationId xmlns:a16="http://schemas.microsoft.com/office/drawing/2014/main" id="{6F3C0FC2-364F-9AEF-D203-EE0CD9A4FA3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816482" y="4468078"/>
            <a:ext cx="1238609" cy="187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andardtextfeld</a:t>
            </a:r>
          </a:p>
        </p:txBody>
      </p:sp>
      <p:sp>
        <p:nvSpPr>
          <p:cNvPr id="39" name="textruta 95">
            <a:extLst>
              <a:ext uri="{FF2B5EF4-FFF2-40B4-BE49-F238E27FC236}">
                <a16:creationId xmlns:a16="http://schemas.microsoft.com/office/drawing/2014/main" id="{C7F76629-1C5B-1576-E858-279F4E913A6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797433" y="2060847"/>
            <a:ext cx="3058019" cy="95205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Beispiele für Standard-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formen, Linien und Textfelder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28858D32-532A-DD1F-E190-C9C2A407A2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91036" y="2060847"/>
            <a:ext cx="1820965" cy="2873546"/>
          </a:xfrm>
          <a:prstGeom prst="rect">
            <a:avLst/>
          </a:prstGeom>
        </p:spPr>
      </p:pic>
      <p:cxnSp>
        <p:nvCxnSpPr>
          <p:cNvPr id="45" name="Rak 16">
            <a:extLst>
              <a:ext uri="{FF2B5EF4-FFF2-40B4-BE49-F238E27FC236}">
                <a16:creationId xmlns:a16="http://schemas.microsoft.com/office/drawing/2014/main" id="{36D4C2CA-A12C-06B0-38A8-F9E03F253681}"/>
              </a:ext>
            </a:extLst>
          </p:cNvPr>
          <p:cNvCxnSpPr>
            <a:cxnSpLocks/>
          </p:cNvCxnSpPr>
          <p:nvPr/>
        </p:nvCxnSpPr>
        <p:spPr>
          <a:xfrm>
            <a:off x="4693433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ruta 22">
            <a:extLst>
              <a:ext uri="{FF2B5EF4-FFF2-40B4-BE49-F238E27FC236}">
                <a16:creationId xmlns:a16="http://schemas.microsoft.com/office/drawing/2014/main" id="{7E4E58B8-C109-3FB2-F844-ED933ED0D44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07988" y="2353061"/>
            <a:ext cx="182096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m Objekte einzufärben, verwenden Sie bitte die </a:t>
            </a:r>
            <a:r>
              <a:rPr kumimoji="0" lang="de-DE" sz="1200" b="0" i="0" u="none" strike="noStrike" kern="1200" cap="none" spc="-30" normalizeH="0" baseline="0" noProof="0" dirty="0">
                <a:ln>
                  <a:noFill/>
                </a:ln>
                <a:effectLst/>
                <a:uLnTx/>
                <a:uFillTx/>
              </a:rPr>
              <a:t>definierten </a:t>
            </a:r>
            <a:r>
              <a:rPr lang="de-DE" sz="1200" dirty="0"/>
              <a:t>Designfarben in der ersten Zeil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er Einsatz von Standardfarben ist nicht erwünscht.</a:t>
            </a:r>
          </a:p>
        </p:txBody>
      </p:sp>
      <p:sp>
        <p:nvSpPr>
          <p:cNvPr id="47" name="textruta 95">
            <a:extLst>
              <a:ext uri="{FF2B5EF4-FFF2-40B4-BE49-F238E27FC236}">
                <a16:creationId xmlns:a16="http://schemas.microsoft.com/office/drawing/2014/main" id="{56311F99-4AA2-DFA6-6AB2-CEAD3A0A8B7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07989" y="2060847"/>
            <a:ext cx="927429" cy="256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sz="1600" b="0" dirty="0">
                <a:solidFill>
                  <a:schemeClr val="tx1"/>
                </a:solidFill>
              </a:rPr>
              <a:t>Farben</a:t>
            </a:r>
          </a:p>
        </p:txBody>
      </p:sp>
      <p:sp>
        <p:nvSpPr>
          <p:cNvPr id="48" name="Oval 4">
            <a:extLst>
              <a:ext uri="{FF2B5EF4-FFF2-40B4-BE49-F238E27FC236}">
                <a16:creationId xmlns:a16="http://schemas.microsoft.com/office/drawing/2014/main" id="{AB72C22F-619D-4B98-5FF2-BA97C9657C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717630" y="2304462"/>
            <a:ext cx="1820962" cy="5334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49" name="Grupp 14">
            <a:extLst>
              <a:ext uri="{FF2B5EF4-FFF2-40B4-BE49-F238E27FC236}">
                <a16:creationId xmlns:a16="http://schemas.microsoft.com/office/drawing/2014/main" id="{22BADCE5-52C6-B0A9-0601-0D7C5BE373C7}"/>
              </a:ext>
            </a:extLst>
          </p:cNvPr>
          <p:cNvGrpSpPr/>
          <p:nvPr/>
        </p:nvGrpSpPr>
        <p:grpSpPr>
          <a:xfrm>
            <a:off x="2733280" y="2895309"/>
            <a:ext cx="1776419" cy="825179"/>
            <a:chOff x="4877584" y="5560187"/>
            <a:chExt cx="2635512" cy="2178041"/>
          </a:xfrm>
        </p:grpSpPr>
        <p:sp>
          <p:nvSpPr>
            <p:cNvPr id="50" name="TextBox 43">
              <a:extLst>
                <a:ext uri="{FF2B5EF4-FFF2-40B4-BE49-F238E27FC236}">
                  <a16:creationId xmlns:a16="http://schemas.microsoft.com/office/drawing/2014/main" id="{6CBBC1A1-506B-41EE-068E-BD3F6FDB87DB}"/>
                </a:ext>
              </a:extLst>
            </p:cNvPr>
            <p:cNvSpPr txBox="1"/>
            <p:nvPr/>
          </p:nvSpPr>
          <p:spPr>
            <a:xfrm>
              <a:off x="4877584" y="5560187"/>
              <a:ext cx="2635512" cy="2178041"/>
            </a:xfrm>
            <a:prstGeom prst="rect">
              <a:avLst/>
            </a:prstGeom>
            <a:solidFill>
              <a:schemeClr val="bg1">
                <a:alpha val="69804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DF0B25"/>
                  </a:solidFill>
                  <a:effectLst/>
                  <a:uLnTx/>
                  <a:uFillTx/>
                </a:rPr>
                <a:t>Diese Farben dürfen nicht genutzt werden</a:t>
              </a:r>
            </a:p>
          </p:txBody>
        </p:sp>
        <p:sp>
          <p:nvSpPr>
            <p:cNvPr id="51" name="&quot;Not Allowed&quot; Symbol 44">
              <a:extLst>
                <a:ext uri="{FF2B5EF4-FFF2-40B4-BE49-F238E27FC236}">
                  <a16:creationId xmlns:a16="http://schemas.microsoft.com/office/drawing/2014/main" id="{1530553D-8D6C-502B-9BFE-18688AC4602F}"/>
                </a:ext>
              </a:extLst>
            </p:cNvPr>
            <p:cNvSpPr/>
            <p:nvPr/>
          </p:nvSpPr>
          <p:spPr>
            <a:xfrm>
              <a:off x="5967880" y="5897085"/>
              <a:ext cx="320460" cy="570127"/>
            </a:xfrm>
            <a:prstGeom prst="noSmoking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3" name="Grupp 14">
            <a:extLst>
              <a:ext uri="{FF2B5EF4-FFF2-40B4-BE49-F238E27FC236}">
                <a16:creationId xmlns:a16="http://schemas.microsoft.com/office/drawing/2014/main" id="{63D5142E-A7BA-1393-EFDC-F161B70EDFF6}"/>
              </a:ext>
            </a:extLst>
          </p:cNvPr>
          <p:cNvGrpSpPr/>
          <p:nvPr/>
        </p:nvGrpSpPr>
        <p:grpSpPr>
          <a:xfrm>
            <a:off x="2733280" y="3643342"/>
            <a:ext cx="1776419" cy="556268"/>
            <a:chOff x="4877584" y="5827521"/>
            <a:chExt cx="2635512" cy="1468257"/>
          </a:xfrm>
        </p:grpSpPr>
        <p:sp>
          <p:nvSpPr>
            <p:cNvPr id="54" name="TextBox 43">
              <a:extLst>
                <a:ext uri="{FF2B5EF4-FFF2-40B4-BE49-F238E27FC236}">
                  <a16:creationId xmlns:a16="http://schemas.microsoft.com/office/drawing/2014/main" id="{B3AC630B-5840-739F-6618-D39798622DD4}"/>
                </a:ext>
              </a:extLst>
            </p:cNvPr>
            <p:cNvSpPr txBox="1"/>
            <p:nvPr/>
          </p:nvSpPr>
          <p:spPr>
            <a:xfrm>
              <a:off x="4877584" y="5827521"/>
              <a:ext cx="2635512" cy="1468257"/>
            </a:xfrm>
            <a:prstGeom prst="rect">
              <a:avLst/>
            </a:prstGeom>
            <a:solidFill>
              <a:schemeClr val="bg1">
                <a:alpha val="69804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DF0B25"/>
                  </a:solidFill>
                  <a:effectLst/>
                  <a:uLnTx/>
                  <a:uFillTx/>
                </a:rPr>
                <a:t>Diese Farben dürfen nicht genutzt werden</a:t>
              </a:r>
            </a:p>
          </p:txBody>
        </p:sp>
        <p:sp>
          <p:nvSpPr>
            <p:cNvPr id="55" name="&quot;Not Allowed&quot; Symbol 44">
              <a:extLst>
                <a:ext uri="{FF2B5EF4-FFF2-40B4-BE49-F238E27FC236}">
                  <a16:creationId xmlns:a16="http://schemas.microsoft.com/office/drawing/2014/main" id="{81CF9A46-E6D7-CA4C-F39A-E9BCA4B99E3A}"/>
                </a:ext>
              </a:extLst>
            </p:cNvPr>
            <p:cNvSpPr/>
            <p:nvPr/>
          </p:nvSpPr>
          <p:spPr>
            <a:xfrm>
              <a:off x="5967880" y="5897085"/>
              <a:ext cx="320460" cy="570127"/>
            </a:xfrm>
            <a:prstGeom prst="noSmoking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4BC3BF38-060F-0786-00ED-FA7FCD22839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61610" y="4637278"/>
            <a:ext cx="2360415" cy="988822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E20D2-77DB-F00D-803B-677B2BF7E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0E46E3-4E7C-987D-7E09-036A30FE4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8161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9A543A9-2818-B8BF-5B65-344F2A6E5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461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92" imgH="591" progId="TCLayout.ActiveDocument.1">
                  <p:embed/>
                </p:oleObj>
              </mc:Choice>
              <mc:Fallback>
                <p:oleObj name="think-cell Folie" r:id="rId1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9A543A9-2818-B8BF-5B65-344F2A6E5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862D62-4293-2A0A-2E65-17221DAD3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urzanleitung (4/6)</a:t>
            </a:r>
            <a:endParaRPr lang="en-US" dirty="0"/>
          </a:p>
        </p:txBody>
      </p:sp>
      <p:cxnSp>
        <p:nvCxnSpPr>
          <p:cNvPr id="55" name="Rak 16">
            <a:extLst>
              <a:ext uri="{FF2B5EF4-FFF2-40B4-BE49-F238E27FC236}">
                <a16:creationId xmlns:a16="http://schemas.microsoft.com/office/drawing/2014/main" id="{B1516273-07E6-2CB2-B7B2-6A8F7E20BD75}"/>
              </a:ext>
            </a:extLst>
          </p:cNvPr>
          <p:cNvCxnSpPr>
            <a:cxnSpLocks/>
          </p:cNvCxnSpPr>
          <p:nvPr/>
        </p:nvCxnSpPr>
        <p:spPr>
          <a:xfrm>
            <a:off x="8134996" y="2060847"/>
            <a:ext cx="0" cy="38893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7E1CD00C-4F4E-B88A-24F6-C6F0D311720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22618" y="2990269"/>
            <a:ext cx="3357563" cy="1888629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92DC50D4-7BDD-37D2-C8F4-F54797E3C237}"/>
              </a:ext>
            </a:extLst>
          </p:cNvPr>
          <p:cNvGrpSpPr/>
          <p:nvPr/>
        </p:nvGrpSpPr>
        <p:grpSpPr>
          <a:xfrm>
            <a:off x="10489648" y="4853637"/>
            <a:ext cx="1294365" cy="958210"/>
            <a:chOff x="9936795" y="1985059"/>
            <a:chExt cx="920868" cy="703628"/>
          </a:xfrm>
        </p:grpSpPr>
        <p:pic>
          <p:nvPicPr>
            <p:cNvPr id="31" name="Bildobjekt 11">
              <a:extLst>
                <a:ext uri="{FF2B5EF4-FFF2-40B4-BE49-F238E27FC236}">
                  <a16:creationId xmlns:a16="http://schemas.microsoft.com/office/drawing/2014/main" id="{33B81F7A-341A-521C-14E1-C57E5958A1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2421" t="2421" r="2421" b="2421"/>
            <a:stretch/>
          </p:blipFill>
          <p:spPr>
            <a:xfrm>
              <a:off x="10033613" y="2028317"/>
              <a:ext cx="824050" cy="66037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32" name="Oval 4">
              <a:extLst>
                <a:ext uri="{FF2B5EF4-FFF2-40B4-BE49-F238E27FC236}">
                  <a16:creationId xmlns:a16="http://schemas.microsoft.com/office/drawing/2014/main" id="{8EAE6930-239D-3F24-55F9-C2F84032E3A6}"/>
                </a:ext>
              </a:extLst>
            </p:cNvPr>
            <p:cNvSpPr/>
            <p:nvPr/>
          </p:nvSpPr>
          <p:spPr>
            <a:xfrm>
              <a:off x="9936795" y="1985059"/>
              <a:ext cx="699171" cy="699171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" name="textruta 28">
            <a:extLst>
              <a:ext uri="{FF2B5EF4-FFF2-40B4-BE49-F238E27FC236}">
                <a16:creationId xmlns:a16="http://schemas.microsoft.com/office/drawing/2014/main" id="{41694CD9-8F9B-584B-6DB7-8534D924B8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26447" y="2335599"/>
            <a:ext cx="3357566" cy="3954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etzen Sie im Menü Ansicht ein Häkchen bei </a:t>
            </a:r>
            <a:r>
              <a:rPr lang="de-DE" sz="1200" dirty="0">
                <a:solidFill>
                  <a:srgbClr val="333333"/>
                </a:solidFill>
              </a:rPr>
              <a:t>Lineal und Führungslinien</a:t>
            </a:r>
            <a:r>
              <a:rPr kumimoji="0" lang="de-DE" sz="1200" b="0" i="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.</a:t>
            </a:r>
            <a:endParaRPr kumimoji="0" lang="de-DE" sz="1600" b="1" i="0" u="none" strike="noStrike" kern="1200" cap="none" spc="10" normalizeH="0" baseline="0" noProof="0" dirty="0">
              <a:ln>
                <a:noFill/>
              </a:ln>
              <a:solidFill>
                <a:srgbClr val="DF0B25"/>
              </a:solidFill>
              <a:effectLst/>
              <a:uLnTx/>
              <a:uFillTx/>
            </a:endParaRPr>
          </a:p>
        </p:txBody>
      </p:sp>
      <p:sp>
        <p:nvSpPr>
          <p:cNvPr id="34" name="textruta 37">
            <a:extLst>
              <a:ext uri="{FF2B5EF4-FFF2-40B4-BE49-F238E27FC236}">
                <a16:creationId xmlns:a16="http://schemas.microsoft.com/office/drawing/2014/main" id="{81DBB0B7-7974-05B1-3798-063E1315715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426447" y="2060848"/>
            <a:ext cx="3357566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Lineal und Führungslinien</a:t>
            </a:r>
          </a:p>
        </p:txBody>
      </p:sp>
      <p:sp>
        <p:nvSpPr>
          <p:cNvPr id="21" name="textruta 37">
            <a:extLst>
              <a:ext uri="{FF2B5EF4-FFF2-40B4-BE49-F238E27FC236}">
                <a16:creationId xmlns:a16="http://schemas.microsoft.com/office/drawing/2014/main" id="{C09AA388-CAD1-D377-97BD-B031FDAC03E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7989" y="2060847"/>
            <a:ext cx="460459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Kopf- und Fußzeile / Seitenzahlen</a:t>
            </a:r>
          </a:p>
        </p:txBody>
      </p:sp>
      <p:sp>
        <p:nvSpPr>
          <p:cNvPr id="22" name="textruta 28">
            <a:extLst>
              <a:ext uri="{FF2B5EF4-FFF2-40B4-BE49-F238E27FC236}">
                <a16:creationId xmlns:a16="http://schemas.microsoft.com/office/drawing/2014/main" id="{707ECAB0-6801-DEA2-7AB9-CC4BF4FE0DA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7989" y="2335599"/>
            <a:ext cx="46045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marR="0" lvl="0" indent="-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enü Einfügen/Kopf- und Fußzeile.</a:t>
            </a:r>
          </a:p>
          <a:p>
            <a:pPr marL="92075" marR="0" lvl="0" indent="-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ußzeile eintragen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äkchen bei Foliennummer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äkchen bei „Auf Titelfolie nicht anzeigen“</a:t>
            </a:r>
          </a:p>
          <a:p>
            <a:pPr marL="92075" marR="0" lvl="0" indent="-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ür alle übernehmen klicken.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403E313-E42D-B7B3-E092-3829194554CB}"/>
              </a:ext>
            </a:extLst>
          </p:cNvPr>
          <p:cNvGrpSpPr/>
          <p:nvPr/>
        </p:nvGrpSpPr>
        <p:grpSpPr>
          <a:xfrm>
            <a:off x="3558972" y="2060848"/>
            <a:ext cx="4311289" cy="3498770"/>
            <a:chOff x="5780171" y="1378302"/>
            <a:chExt cx="5464093" cy="4434315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2D8EA7E-89C2-C74B-F019-58745AD5CA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26520" y="1378302"/>
              <a:ext cx="5217744" cy="4434315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27" name="Rektangel 55">
              <a:extLst>
                <a:ext uri="{FF2B5EF4-FFF2-40B4-BE49-F238E27FC236}">
                  <a16:creationId xmlns:a16="http://schemas.microsoft.com/office/drawing/2014/main" id="{C7FBF862-2443-43A6-1098-A8A8487B181D}"/>
                </a:ext>
              </a:extLst>
            </p:cNvPr>
            <p:cNvSpPr/>
            <p:nvPr/>
          </p:nvSpPr>
          <p:spPr>
            <a:xfrm>
              <a:off x="8694044" y="1577820"/>
              <a:ext cx="567013" cy="771060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ktangel 55">
              <a:extLst>
                <a:ext uri="{FF2B5EF4-FFF2-40B4-BE49-F238E27FC236}">
                  <a16:creationId xmlns:a16="http://schemas.microsoft.com/office/drawing/2014/main" id="{F3EF91F7-EB5D-FB7A-296D-1F0273252C05}"/>
                </a:ext>
              </a:extLst>
            </p:cNvPr>
            <p:cNvSpPr/>
            <p:nvPr/>
          </p:nvSpPr>
          <p:spPr>
            <a:xfrm>
              <a:off x="6031846" y="4343990"/>
              <a:ext cx="4084721" cy="890187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ktangel 55">
              <a:extLst>
                <a:ext uri="{FF2B5EF4-FFF2-40B4-BE49-F238E27FC236}">
                  <a16:creationId xmlns:a16="http://schemas.microsoft.com/office/drawing/2014/main" id="{E19360F2-C6F4-93DF-1CDB-3DEBC39A1100}"/>
                </a:ext>
              </a:extLst>
            </p:cNvPr>
            <p:cNvSpPr/>
            <p:nvPr/>
          </p:nvSpPr>
          <p:spPr>
            <a:xfrm>
              <a:off x="8934056" y="5397066"/>
              <a:ext cx="1086456" cy="415551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12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51B29BA3-7972-D177-82A9-8BF7FC87AE8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8513642" y="1402260"/>
              <a:ext cx="352128" cy="352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DF0B25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3A82FB80-9A34-76CD-9302-FCBD2727B96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80171" y="4619392"/>
              <a:ext cx="352128" cy="352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DF0B25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DEEBBFD4-E310-0511-41FF-B5F5F1CD3EB9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8632839" y="5415638"/>
              <a:ext cx="352128" cy="352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DF0B25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</a:t>
              </a:r>
            </a:p>
          </p:txBody>
        </p:sp>
      </p:grpSp>
      <p:sp>
        <p:nvSpPr>
          <p:cNvPr id="40" name="Textfeld 39">
            <a:extLst>
              <a:ext uri="{FF2B5EF4-FFF2-40B4-BE49-F238E27FC236}">
                <a16:creationId xmlns:a16="http://schemas.microsoft.com/office/drawing/2014/main" id="{75B76AEF-3362-FADB-55FD-3B68F3BA61A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07990" y="3804811"/>
            <a:ext cx="3022856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1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WICHTIG: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nn alte Präsentationen einkopiert werden, erscheinen Seitenzahlen oder Fußzeilen manchmal an falscher Stelle oder falsch formatiert. Um dies zu vermeiden, wiederholen Sie     bis     nach Fertigstellung der Präsentation 2 x: erst alle Häkchen entfernen und „Für alle übernehmen“ klicken und dann noch einmal die Häkchen setzen. So werden alle Einstellungen richtig übernommen.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4969657C-F5D8-FF5C-675C-414789BACAE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617402" y="4390504"/>
            <a:ext cx="130226" cy="1302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450"/>
              </a:spcBef>
              <a:spcAft>
                <a:spcPts val="0"/>
              </a:spcAft>
              <a:buClr>
                <a:srgbClr val="DF0B25"/>
              </a:buClr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16292E50-4B9A-0C72-6B32-7F977C0026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941438" y="4394410"/>
            <a:ext cx="130226" cy="1302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450"/>
              </a:spcBef>
              <a:spcAft>
                <a:spcPts val="0"/>
              </a:spcAft>
              <a:buClr>
                <a:srgbClr val="DF0B25"/>
              </a:buClr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91D64D-D4A3-E16D-54BD-A93F3DF53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CD921F6-51AD-4454-667E-CADF743E3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569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F203216-FE08-748D-EB07-49AF58C07B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770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92" imgH="591" progId="TCLayout.ActiveDocument.1">
                  <p:embed/>
                </p:oleObj>
              </mc:Choice>
              <mc:Fallback>
                <p:oleObj name="think-cell Folie" r:id="rId17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F203216-FE08-748D-EB07-49AF58C07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8E57FE-13B8-AC88-55C0-A357A9523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urzanleitung (5/6)</a:t>
            </a:r>
            <a:endParaRPr lang="en-US" dirty="0"/>
          </a:p>
        </p:txBody>
      </p:sp>
      <p:sp>
        <p:nvSpPr>
          <p:cNvPr id="16" name="textruta 28">
            <a:extLst>
              <a:ext uri="{FF2B5EF4-FFF2-40B4-BE49-F238E27FC236}">
                <a16:creationId xmlns:a16="http://schemas.microsoft.com/office/drawing/2014/main" id="{BBEC7388-2451-6AD9-122F-E7C4FD92A5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68587" y="2335600"/>
            <a:ext cx="354504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abellen sind wie unten voreingestell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Lediglich die Kopfzeile muss manuell angepasst werden: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Schriftart ‚Univers Next Pro Medium‘,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Passen Sie alles Weitere (Schriftgröße, Ausrichtung, etc.) an Ihre Anforderungen an. </a:t>
            </a:r>
          </a:p>
        </p:txBody>
      </p:sp>
      <p:sp>
        <p:nvSpPr>
          <p:cNvPr id="17" name="textruta 37">
            <a:extLst>
              <a:ext uri="{FF2B5EF4-FFF2-40B4-BE49-F238E27FC236}">
                <a16:creationId xmlns:a16="http://schemas.microsoft.com/office/drawing/2014/main" id="{874E7805-21EE-5775-B925-243967CEAB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68589" y="2060848"/>
            <a:ext cx="194317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Tabellen</a:t>
            </a:r>
          </a:p>
        </p:txBody>
      </p:sp>
      <p:sp>
        <p:nvSpPr>
          <p:cNvPr id="18" name="textruta 37">
            <a:extLst>
              <a:ext uri="{FF2B5EF4-FFF2-40B4-BE49-F238E27FC236}">
                <a16:creationId xmlns:a16="http://schemas.microsoft.com/office/drawing/2014/main" id="{4305B28F-1F2F-C444-A460-A3028660001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7990" y="2060847"/>
            <a:ext cx="194317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Diagramme</a:t>
            </a:r>
          </a:p>
        </p:txBody>
      </p:sp>
      <p:sp>
        <p:nvSpPr>
          <p:cNvPr id="19" name="textruta 28">
            <a:extLst>
              <a:ext uri="{FF2B5EF4-FFF2-40B4-BE49-F238E27FC236}">
                <a16:creationId xmlns:a16="http://schemas.microsoft.com/office/drawing/2014/main" id="{8EDBB738-EA68-30F4-15A7-52520468BCA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7989" y="2335599"/>
            <a:ext cx="32422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iagramme sind 2-D und werden automatisch von PowerPoint erstellt.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</a:br>
            <a:r>
              <a:rPr lang="de-DE" sz="1200" dirty="0">
                <a:solidFill>
                  <a:srgbClr val="333333"/>
                </a:solidFill>
              </a:rPr>
              <a:t>Passen Sie Schriftgröße und Farben an Ihre Anforderungen an. </a:t>
            </a:r>
          </a:p>
        </p:txBody>
      </p:sp>
      <p:graphicFrame>
        <p:nvGraphicFramePr>
          <p:cNvPr id="20" name="Diagramm 19">
            <a:extLst>
              <a:ext uri="{FF2B5EF4-FFF2-40B4-BE49-F238E27FC236}">
                <a16:creationId xmlns:a16="http://schemas.microsoft.com/office/drawing/2014/main" id="{2D9B51EE-D207-20D5-5560-6C5934A2E1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1420644"/>
              </p:ext>
            </p:extLst>
          </p:nvPr>
        </p:nvGraphicFramePr>
        <p:xfrm>
          <a:off x="407989" y="3424879"/>
          <a:ext cx="3678985" cy="264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21" name="Rak 16">
            <a:extLst>
              <a:ext uri="{FF2B5EF4-FFF2-40B4-BE49-F238E27FC236}">
                <a16:creationId xmlns:a16="http://schemas.microsoft.com/office/drawing/2014/main" id="{AFA18A06-CB5C-37A9-4EBF-33BBED95600C}"/>
              </a:ext>
            </a:extLst>
          </p:cNvPr>
          <p:cNvCxnSpPr>
            <a:cxnSpLocks/>
          </p:cNvCxnSpPr>
          <p:nvPr/>
        </p:nvCxnSpPr>
        <p:spPr>
          <a:xfrm>
            <a:off x="8393025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ak 16">
            <a:extLst>
              <a:ext uri="{FF2B5EF4-FFF2-40B4-BE49-F238E27FC236}">
                <a16:creationId xmlns:a16="http://schemas.microsoft.com/office/drawing/2014/main" id="{39A80B83-C63C-CF03-2221-1796C713C57E}"/>
              </a:ext>
            </a:extLst>
          </p:cNvPr>
          <p:cNvCxnSpPr>
            <a:cxnSpLocks/>
          </p:cNvCxnSpPr>
          <p:nvPr/>
        </p:nvCxnSpPr>
        <p:spPr>
          <a:xfrm>
            <a:off x="4187788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elle 6">
            <a:extLst>
              <a:ext uri="{FF2B5EF4-FFF2-40B4-BE49-F238E27FC236}">
                <a16:creationId xmlns:a16="http://schemas.microsoft.com/office/drawing/2014/main" id="{83128925-3DE6-A39A-4067-F29F57989EB2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33398426"/>
              </p:ext>
            </p:extLst>
          </p:nvPr>
        </p:nvGraphicFramePr>
        <p:xfrm>
          <a:off x="4468589" y="3452764"/>
          <a:ext cx="3566860" cy="12192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713372">
                  <a:extLst>
                    <a:ext uri="{9D8B030D-6E8A-4147-A177-3AD203B41FA5}">
                      <a16:colId xmlns:a16="http://schemas.microsoft.com/office/drawing/2014/main" val="2521478462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732801881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3495340390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1798164680"/>
                    </a:ext>
                  </a:extLst>
                </a:gridCol>
                <a:gridCol w="713372">
                  <a:extLst>
                    <a:ext uri="{9D8B030D-6E8A-4147-A177-3AD203B41FA5}">
                      <a16:colId xmlns:a16="http://schemas.microsoft.com/office/drawing/2014/main" val="2720054121"/>
                    </a:ext>
                  </a:extLst>
                </a:gridCol>
              </a:tblGrid>
              <a:tr h="155680"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Text</a:t>
                      </a:r>
                      <a:endParaRPr lang="de-DE" sz="1400" b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547624"/>
                  </a:ext>
                </a:extLst>
              </a:tr>
              <a:tr h="155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281782"/>
                  </a:ext>
                </a:extLst>
              </a:tr>
              <a:tr h="155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193255"/>
                  </a:ext>
                </a:extLst>
              </a:tr>
              <a:tr h="155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ext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2865992"/>
                  </a:ext>
                </a:extLst>
              </a:tr>
            </a:tbl>
          </a:graphicData>
        </a:graphic>
      </p:graphicFrame>
      <p:sp>
        <p:nvSpPr>
          <p:cNvPr id="30" name="textruta 28">
            <a:extLst>
              <a:ext uri="{FF2B5EF4-FFF2-40B4-BE49-F238E27FC236}">
                <a16:creationId xmlns:a16="http://schemas.microsoft.com/office/drawing/2014/main" id="{084A3FFC-9EF5-F1EB-7C36-C47CBCDE121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30864" y="2335599"/>
            <a:ext cx="3145347" cy="597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Verwenden sie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KEINE Spezialeffekte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wie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Spiegelung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oder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3-D-Effekte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! 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uch </a:t>
            </a:r>
            <a:r>
              <a:rPr kumimoji="0" lang="de-DE" sz="1200" u="none" strike="noStrike" kern="1200" cap="none" spc="1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Farben außerhalb des CDs 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ürfen 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</a:rPr>
              <a:t>NICHT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verwendet werden.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1" name="textruta 37">
            <a:extLst>
              <a:ext uri="{FF2B5EF4-FFF2-40B4-BE49-F238E27FC236}">
                <a16:creationId xmlns:a16="http://schemas.microsoft.com/office/drawing/2014/main" id="{6C58ABAB-82B2-B8D8-EC2F-A863F4A032D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630864" y="2060847"/>
            <a:ext cx="314534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/>
            </a:pPr>
            <a:r>
              <a:rPr lang="de-DE" sz="1600" spc="10" dirty="0">
                <a:latin typeface="+mj-lt"/>
              </a:rPr>
              <a:t>Dos and Don‘ts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209C893-4BE2-4487-FBCF-68B8C08C600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648740" y="3391583"/>
            <a:ext cx="754997" cy="75499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7A271E7-7DE1-9F9F-5D69-9D8B3283D0D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996787" y="3391583"/>
            <a:ext cx="754997" cy="75499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FECFBB6-4A29-D1CA-433C-9A31F9C2D1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971945" y="3391583"/>
            <a:ext cx="754997" cy="75499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reflection blurRad="6350" stA="50000" endA="300" endPos="385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E70E454-54BF-C31E-FFC3-4F40B045220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48740" y="4688339"/>
            <a:ext cx="754997" cy="75499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1409751-F3E4-501F-070F-6D35603B6C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901419" y="4853385"/>
            <a:ext cx="754997" cy="754997"/>
          </a:xfrm>
          <a:prstGeom prst="rect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6414092-2006-9817-584B-C6DAE3461C0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154096" y="5018430"/>
            <a:ext cx="754997" cy="754997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6E6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EF4918B-E0F1-A06F-8161-AC4F8A71A3A1}"/>
              </a:ext>
            </a:extLst>
          </p:cNvPr>
          <p:cNvGrpSpPr/>
          <p:nvPr/>
        </p:nvGrpSpPr>
        <p:grpSpPr>
          <a:xfrm>
            <a:off x="8638666" y="3304789"/>
            <a:ext cx="3145347" cy="2349452"/>
            <a:chOff x="8545779" y="2473949"/>
            <a:chExt cx="3145347" cy="2349452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5D0D0E30-65A3-8EE6-A036-A9336CEB2094}"/>
                </a:ext>
              </a:extLst>
            </p:cNvPr>
            <p:cNvCxnSpPr>
              <a:cxnSpLocks/>
            </p:cNvCxnSpPr>
            <p:nvPr/>
          </p:nvCxnSpPr>
          <p:spPr>
            <a:xfrm>
              <a:off x="8545779" y="2473949"/>
              <a:ext cx="3145347" cy="2349452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D12CFE68-CA6D-1D69-6B21-01D332E660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45779" y="2473949"/>
              <a:ext cx="3145347" cy="2349452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D7DED6-90A3-517C-1528-AAF6C0325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182C9FF-3C11-1882-358A-F98DDD2C5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76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35AB4B53-77C2-43D9-86D4-071AC03E88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91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592" imgH="591" progId="TCLayout.ActiveDocument.1">
                  <p:embed/>
                </p:oleObj>
              </mc:Choice>
              <mc:Fallback>
                <p:oleObj name="think-cell Folie" r:id="rId28" imgW="592" imgH="591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35AB4B53-77C2-43D9-86D4-071AC03E88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43BA984B-C813-3C94-2361-C7D505B78E85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r="53201"/>
          <a:stretch/>
        </p:blipFill>
        <p:spPr>
          <a:xfrm>
            <a:off x="5006138" y="2854115"/>
            <a:ext cx="988835" cy="95081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360EFF0-8B1B-C003-18DE-1FC7F4F79F26}"/>
              </a:ext>
            </a:extLst>
          </p:cNvPr>
          <p:cNvPicPr>
            <a:picLocks noChangeAspect="1"/>
          </p:cNvPicPr>
          <p:nvPr/>
        </p:nvPicPr>
        <p:blipFill>
          <a:blip r:embed="rId31"/>
          <a:srcRect/>
          <a:stretch>
            <a:fillRect/>
          </a:stretch>
        </p:blipFill>
        <p:spPr>
          <a:xfrm>
            <a:off x="5130848" y="4581899"/>
            <a:ext cx="1195522" cy="848199"/>
          </a:xfrm>
          <a:custGeom>
            <a:avLst/>
            <a:gdLst>
              <a:gd name="connsiteX0" fmla="*/ 0 w 1345884"/>
              <a:gd name="connsiteY0" fmla="*/ 0 h 954878"/>
              <a:gd name="connsiteX1" fmla="*/ 1345884 w 1345884"/>
              <a:gd name="connsiteY1" fmla="*/ 0 h 954878"/>
              <a:gd name="connsiteX2" fmla="*/ 1345884 w 1345884"/>
              <a:gd name="connsiteY2" fmla="*/ 954878 h 954878"/>
              <a:gd name="connsiteX3" fmla="*/ 664408 w 1345884"/>
              <a:gd name="connsiteY3" fmla="*/ 954878 h 954878"/>
              <a:gd name="connsiteX4" fmla="*/ 664408 w 1345884"/>
              <a:gd name="connsiteY4" fmla="*/ 224567 h 954878"/>
              <a:gd name="connsiteX5" fmla="*/ 0 w 1345884"/>
              <a:gd name="connsiteY5" fmla="*/ 224567 h 954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45884" h="954878">
                <a:moveTo>
                  <a:pt x="0" y="0"/>
                </a:moveTo>
                <a:lnTo>
                  <a:pt x="1345884" y="0"/>
                </a:lnTo>
                <a:lnTo>
                  <a:pt x="1345884" y="954878"/>
                </a:lnTo>
                <a:lnTo>
                  <a:pt x="664408" y="954878"/>
                </a:lnTo>
                <a:lnTo>
                  <a:pt x="664408" y="224567"/>
                </a:lnTo>
                <a:lnTo>
                  <a:pt x="0" y="224567"/>
                </a:lnTo>
                <a:close/>
              </a:path>
            </a:pathLst>
          </a:custGeom>
        </p:spPr>
      </p:pic>
      <p:sp>
        <p:nvSpPr>
          <p:cNvPr id="111" name="textruta 57">
            <a:extLst>
              <a:ext uri="{FF2B5EF4-FFF2-40B4-BE49-F238E27FC236}">
                <a16:creationId xmlns:a16="http://schemas.microsoft.com/office/drawing/2014/main" id="{1C206FDF-CDE9-4CEA-B24B-0211A4C9423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018772" y="3933056"/>
            <a:ext cx="2205853" cy="447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900" dirty="0">
                <a:latin typeface="+mj-lt"/>
              </a:rPr>
              <a:t>Textausrichtung und innere Ränder </a:t>
            </a:r>
            <a:br>
              <a:rPr lang="de-DE" sz="900" dirty="0">
                <a:latin typeface="+mj-lt"/>
              </a:rPr>
            </a:br>
            <a:r>
              <a:rPr lang="de-DE" sz="900" dirty="0"/>
              <a:t>Um Formen und Textfelder nach Ihren Wünschen zu gestalten, verwenden Sie die: Vertikale Ausrichtung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9C41AD3-18D2-43F0-AF92-B59C74CEC8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buClr>
                <a:schemeClr val="tx2"/>
              </a:buClr>
            </a:pPr>
            <a:endParaRPr lang="de-DE" sz="2400" b="1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666895-CFB2-45D8-9226-E9D0B2B47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</p:spPr>
        <p:txBody>
          <a:bodyPr vert="horz"/>
          <a:lstStyle/>
          <a:p>
            <a:r>
              <a:rPr lang="de-DE" dirty="0"/>
              <a:t>Kurzanleitung (6/6)</a:t>
            </a:r>
            <a:endParaRPr lang="en-US" dirty="0"/>
          </a:p>
        </p:txBody>
      </p:sp>
      <p:cxnSp>
        <p:nvCxnSpPr>
          <p:cNvPr id="71" name="Rak 42">
            <a:extLst>
              <a:ext uri="{FF2B5EF4-FFF2-40B4-BE49-F238E27FC236}">
                <a16:creationId xmlns:a16="http://schemas.microsoft.com/office/drawing/2014/main" id="{41202358-F664-4442-9614-DB1A147034C9}"/>
              </a:ext>
            </a:extLst>
          </p:cNvPr>
          <p:cNvCxnSpPr>
            <a:cxnSpLocks/>
          </p:cNvCxnSpPr>
          <p:nvPr/>
        </p:nvCxnSpPr>
        <p:spPr>
          <a:xfrm>
            <a:off x="4655840" y="2060847"/>
            <a:ext cx="0" cy="4116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ruta 57">
            <a:extLst>
              <a:ext uri="{FF2B5EF4-FFF2-40B4-BE49-F238E27FC236}">
                <a16:creationId xmlns:a16="http://schemas.microsoft.com/office/drawing/2014/main" id="{7FEE4A8C-DA86-42B7-B945-CD0D96CA34D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18772" y="2406538"/>
            <a:ext cx="1424260" cy="447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r>
              <a:rPr lang="de-DE" sz="900" dirty="0">
                <a:latin typeface="+mj-lt"/>
              </a:rPr>
              <a:t>Textfeld und Formen</a:t>
            </a:r>
            <a:br>
              <a:rPr lang="de-DE" sz="900" dirty="0">
                <a:latin typeface="+mj-lt"/>
              </a:rPr>
            </a:br>
            <a:r>
              <a:rPr lang="de-DE" sz="900" dirty="0"/>
              <a:t>Jede Form ist auch ein Textfeld und kann beschriftet werden.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B470ABE-2E4C-44C1-B31D-5D7D875CE7B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37054" y="2558887"/>
            <a:ext cx="1021050" cy="2954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r>
              <a:rPr lang="de-DE" sz="900" dirty="0"/>
              <a:t>NICHT Textfeld UND Form verwenden</a:t>
            </a:r>
            <a:endParaRPr lang="en-US" sz="9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3F47F2A-D324-2C13-E2DC-73BBC4FAA487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985460" y="4166846"/>
            <a:ext cx="1064897" cy="1953616"/>
          </a:xfrm>
          <a:prstGeom prst="rect">
            <a:avLst/>
          </a:prstGeom>
        </p:spPr>
      </p:pic>
      <p:sp>
        <p:nvSpPr>
          <p:cNvPr id="117" name="Rektangel 21">
            <a:extLst>
              <a:ext uri="{FF2B5EF4-FFF2-40B4-BE49-F238E27FC236}">
                <a16:creationId xmlns:a16="http://schemas.microsoft.com/office/drawing/2014/main" id="{F77A3E94-C6E1-4D01-A9BE-4B10EE98ECC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976371" y="4926719"/>
            <a:ext cx="1213645" cy="121620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119" name="Rektangel 21">
            <a:extLst>
              <a:ext uri="{FF2B5EF4-FFF2-40B4-BE49-F238E27FC236}">
                <a16:creationId xmlns:a16="http://schemas.microsoft.com/office/drawing/2014/main" id="{127A9EE1-EC33-4A18-B0D0-BDE1333166C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710966" y="4753076"/>
            <a:ext cx="615403" cy="705823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120" name="Rektangel 21">
            <a:extLst>
              <a:ext uri="{FF2B5EF4-FFF2-40B4-BE49-F238E27FC236}">
                <a16:creationId xmlns:a16="http://schemas.microsoft.com/office/drawing/2014/main" id="{A2E80BA5-CA3A-458C-8570-F2B391E9124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976372" y="5318864"/>
            <a:ext cx="1213644" cy="504000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121" name="Rektangel 21">
            <a:extLst>
              <a:ext uri="{FF2B5EF4-FFF2-40B4-BE49-F238E27FC236}">
                <a16:creationId xmlns:a16="http://schemas.microsoft.com/office/drawing/2014/main" id="{4C62A10E-D237-4147-A2FC-A7FEB460B89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976371" y="5822863"/>
            <a:ext cx="1213644" cy="87542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834C8B4-44C5-431D-8719-0EACE92395D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504917" y="4434664"/>
            <a:ext cx="396042" cy="2887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67" name="textruta 34">
            <a:extLst>
              <a:ext uri="{FF2B5EF4-FFF2-40B4-BE49-F238E27FC236}">
                <a16:creationId xmlns:a16="http://schemas.microsoft.com/office/drawing/2014/main" id="{84C3021E-9AA9-43D0-A0F1-61515AC593C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07989" y="2406538"/>
            <a:ext cx="3659942" cy="600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sz="900" b="0" dirty="0">
                <a:solidFill>
                  <a:schemeClr val="tx1"/>
                </a:solidFill>
              </a:rPr>
              <a:t>Objekte ausrichten </a:t>
            </a:r>
            <a:br>
              <a:rPr lang="de-DE" sz="900" b="0" dirty="0">
                <a:solidFill>
                  <a:schemeClr val="tx1"/>
                </a:solidFill>
              </a:rPr>
            </a:br>
            <a:r>
              <a:rPr lang="de-DE" sz="900" b="0" dirty="0">
                <a:solidFill>
                  <a:schemeClr val="tx1"/>
                </a:solidFill>
                <a:latin typeface="+mn-lt"/>
              </a:rPr>
              <a:t>Markieren Sie die Objekte, die Sie ausrichten möchten. Gehen Sie zu Start und klicken Sie auf Anordnen. Wählen Sie Ausrichten und die gewünschten Ausrichtungsoptionen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82" name="Picture 3">
            <a:extLst>
              <a:ext uri="{FF2B5EF4-FFF2-40B4-BE49-F238E27FC236}">
                <a16:creationId xmlns:a16="http://schemas.microsoft.com/office/drawing/2014/main" id="{56BB62B8-8A3C-4BE4-A598-E27682EBC2FF}"/>
              </a:ext>
            </a:extLst>
          </p:cNvPr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" r="6906"/>
          <a:stretch/>
        </p:blipFill>
        <p:spPr>
          <a:xfrm>
            <a:off x="2763505" y="3551669"/>
            <a:ext cx="1610228" cy="1781995"/>
          </a:xfrm>
          <a:prstGeom prst="rect">
            <a:avLst/>
          </a:prstGeom>
        </p:spPr>
      </p:pic>
      <p:sp>
        <p:nvSpPr>
          <p:cNvPr id="83" name="Rektangel 21">
            <a:extLst>
              <a:ext uri="{FF2B5EF4-FFF2-40B4-BE49-F238E27FC236}">
                <a16:creationId xmlns:a16="http://schemas.microsoft.com/office/drawing/2014/main" id="{B9F26371-EEAC-4EC8-A766-353B1469E74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738633" y="4914414"/>
            <a:ext cx="1184852" cy="382562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85" name="Rektangel 55">
            <a:extLst>
              <a:ext uri="{FF2B5EF4-FFF2-40B4-BE49-F238E27FC236}">
                <a16:creationId xmlns:a16="http://schemas.microsoft.com/office/drawing/2014/main" id="{5000CF07-BB7D-4A34-9772-64D6251167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738633" y="3574830"/>
            <a:ext cx="1184852" cy="1298538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B19222AF-ECD0-4B16-8F39-17B124D93F23}"/>
              </a:ext>
            </a:extLst>
          </p:cNvPr>
          <p:cNvCxnSpPr>
            <a:cxnSpLocks/>
            <a:stCxn id="75" idx="3"/>
            <a:endCxn id="83" idx="1"/>
          </p:cNvCxnSpPr>
          <p:nvPr/>
        </p:nvCxnSpPr>
        <p:spPr>
          <a:xfrm>
            <a:off x="2252295" y="4030439"/>
            <a:ext cx="486338" cy="107525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Verbinder: gewinkelt 87">
            <a:extLst>
              <a:ext uri="{FF2B5EF4-FFF2-40B4-BE49-F238E27FC236}">
                <a16:creationId xmlns:a16="http://schemas.microsoft.com/office/drawing/2014/main" id="{55AF4925-B195-4293-B7AA-A5921C9BB143}"/>
              </a:ext>
            </a:extLst>
          </p:cNvPr>
          <p:cNvCxnSpPr>
            <a:cxnSpLocks/>
          </p:cNvCxnSpPr>
          <p:nvPr/>
        </p:nvCxnSpPr>
        <p:spPr>
          <a:xfrm rot="16200000" flipH="1">
            <a:off x="2214783" y="2714241"/>
            <a:ext cx="574796" cy="115907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04F862EB-1AD5-4929-8B1C-F7E4A8892998}"/>
              </a:ext>
            </a:extLst>
          </p:cNvPr>
          <p:cNvCxnSpPr>
            <a:cxnSpLocks/>
            <a:endCxn id="117" idx="1"/>
          </p:cNvCxnSpPr>
          <p:nvPr/>
        </p:nvCxnSpPr>
        <p:spPr>
          <a:xfrm>
            <a:off x="7327503" y="4089583"/>
            <a:ext cx="648868" cy="89794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Verbinder: gewinkelt 14">
            <a:extLst>
              <a:ext uri="{FF2B5EF4-FFF2-40B4-BE49-F238E27FC236}">
                <a16:creationId xmlns:a16="http://schemas.microsoft.com/office/drawing/2014/main" id="{8F7C4DCC-EF78-4A37-A73D-2ED5CF56DCDC}"/>
              </a:ext>
            </a:extLst>
          </p:cNvPr>
          <p:cNvCxnSpPr>
            <a:cxnSpLocks/>
            <a:stCxn id="58" idx="3"/>
            <a:endCxn id="121" idx="1"/>
          </p:cNvCxnSpPr>
          <p:nvPr/>
        </p:nvCxnSpPr>
        <p:spPr>
          <a:xfrm flipV="1">
            <a:off x="7654029" y="5866634"/>
            <a:ext cx="322342" cy="12007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B087043F-32B9-4847-A748-3DB3C819AA0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787309" y="5347186"/>
            <a:ext cx="1866720" cy="235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fontAlgn="auto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>
                <a:schemeClr val="accent1"/>
              </a:buClr>
              <a:buSzTx/>
              <a:tabLst/>
              <a:defRPr/>
            </a:pPr>
            <a:r>
              <a:rPr lang="de-DE" sz="900" dirty="0">
                <a:latin typeface="+mj-lt"/>
              </a:rPr>
              <a:t>Innenränder</a:t>
            </a:r>
          </a:p>
        </p:txBody>
      </p:sp>
      <p:cxnSp>
        <p:nvCxnSpPr>
          <p:cNvPr id="77" name="Verbinder: gewinkelt 14">
            <a:extLst>
              <a:ext uri="{FF2B5EF4-FFF2-40B4-BE49-F238E27FC236}">
                <a16:creationId xmlns:a16="http://schemas.microsoft.com/office/drawing/2014/main" id="{54306121-4238-4B17-A0AB-ABCAF19473F6}"/>
              </a:ext>
            </a:extLst>
          </p:cNvPr>
          <p:cNvCxnSpPr>
            <a:cxnSpLocks/>
            <a:stCxn id="57" idx="3"/>
            <a:endCxn id="120" idx="1"/>
          </p:cNvCxnSpPr>
          <p:nvPr/>
        </p:nvCxnSpPr>
        <p:spPr>
          <a:xfrm>
            <a:off x="7654029" y="5465007"/>
            <a:ext cx="322343" cy="10585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ruta 57">
            <a:extLst>
              <a:ext uri="{FF2B5EF4-FFF2-40B4-BE49-F238E27FC236}">
                <a16:creationId xmlns:a16="http://schemas.microsoft.com/office/drawing/2014/main" id="{F58A2D03-DFEA-402D-9390-0B0F13DC75F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921902" y="2406538"/>
            <a:ext cx="3440884" cy="447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900" dirty="0">
                <a:latin typeface="+mj-lt"/>
              </a:rPr>
              <a:t>Gerade Linie, Kreise und Quadrate</a:t>
            </a:r>
            <a:br>
              <a:rPr lang="de-DE" sz="900" dirty="0">
                <a:latin typeface="+mj-lt"/>
              </a:rPr>
            </a:br>
            <a:r>
              <a:rPr lang="de-DE" sz="900" dirty="0"/>
              <a:t>Um eine gerade Linie, einen Kreis oder einen Quader zu zeichnen, halten Sie beim Zeichnen die Umschalttaste gedrückt.</a:t>
            </a:r>
            <a:endParaRPr lang="en-US" sz="900" dirty="0"/>
          </a:p>
        </p:txBody>
      </p:sp>
      <p:sp>
        <p:nvSpPr>
          <p:cNvPr id="87" name="Rectangle: Rounded Corners 46">
            <a:extLst>
              <a:ext uri="{FF2B5EF4-FFF2-40B4-BE49-F238E27FC236}">
                <a16:creationId xmlns:a16="http://schemas.microsoft.com/office/drawing/2014/main" id="{F47F5A8D-FD0B-45E5-BB72-3B245490649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297326" y="3161188"/>
            <a:ext cx="580202" cy="43998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800" rtlCol="0" anchor="ctr"/>
          <a:lstStyle/>
          <a:p>
            <a:pPr algn="ctr">
              <a:lnSpc>
                <a:spcPct val="80000"/>
              </a:lnSpc>
            </a:pPr>
            <a:r>
              <a:rPr lang="de-DE" dirty="0">
                <a:solidFill>
                  <a:schemeClr val="tx1"/>
                </a:solidFill>
                <a:sym typeface="Wingdings 3" panose="05040102010807070707" pitchFamily="18" charset="2"/>
              </a:rPr>
              <a:t>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2" name="textruta 34">
            <a:extLst>
              <a:ext uri="{FF2B5EF4-FFF2-40B4-BE49-F238E27FC236}">
                <a16:creationId xmlns:a16="http://schemas.microsoft.com/office/drawing/2014/main" id="{AED337DF-A9EA-4AAA-B838-3905D3339F76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07989" y="2060847"/>
            <a:ext cx="3580285" cy="254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Ausrichtewerkzeuge nutzen</a:t>
            </a:r>
          </a:p>
        </p:txBody>
      </p:sp>
      <p:sp>
        <p:nvSpPr>
          <p:cNvPr id="50" name="textruta 34">
            <a:extLst>
              <a:ext uri="{FF2B5EF4-FFF2-40B4-BE49-F238E27FC236}">
                <a16:creationId xmlns:a16="http://schemas.microsoft.com/office/drawing/2014/main" id="{221806F7-D9FD-4257-98BD-9239C9A9F47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018771" y="2060847"/>
            <a:ext cx="2085521" cy="254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de-DE" sz="1600" b="0" dirty="0">
                <a:solidFill>
                  <a:schemeClr val="tx1"/>
                </a:solidFill>
              </a:rPr>
              <a:t>Formen formatieren</a:t>
            </a:r>
          </a:p>
        </p:txBody>
      </p:sp>
      <p:sp>
        <p:nvSpPr>
          <p:cNvPr id="75" name="textruta 47">
            <a:extLst>
              <a:ext uri="{FF2B5EF4-FFF2-40B4-BE49-F238E27FC236}">
                <a16:creationId xmlns:a16="http://schemas.microsoft.com/office/drawing/2014/main" id="{683C7AAB-0A61-4CD4-899F-3C758516A0A1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414244" y="3878564"/>
            <a:ext cx="1838051" cy="303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solidFill>
                  <a:schemeClr val="tx1"/>
                </a:solidFill>
              </a:rPr>
              <a:t>Horizontal oder vertikal verteil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solidFill>
                  <a:schemeClr val="tx1"/>
                </a:solidFill>
                <a:latin typeface="+mn-lt"/>
              </a:rPr>
              <a:t>Mit dieser Funktion wird der Abstand zwischen verschiedenen Objekten gleichmäßig verteilt. Markieren Sie die Objekte, die Sie anpassen möchten (mindestens drei Stück), und wählen Sie Horizontal verteilen oder Vertikal verteilen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52" name="textruta 47">
            <a:extLst>
              <a:ext uri="{FF2B5EF4-FFF2-40B4-BE49-F238E27FC236}">
                <a16:creationId xmlns:a16="http://schemas.microsoft.com/office/drawing/2014/main" id="{E6CBBDE6-DA32-4B11-B3BC-4AEE63945B1E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14244" y="5534211"/>
            <a:ext cx="1838051" cy="303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defRPr sz="1200" b="1" spc="1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de-DE" sz="900" b="0" dirty="0">
                <a:solidFill>
                  <a:schemeClr val="tx1"/>
                </a:solidFill>
              </a:rPr>
              <a:t>Objekte gruppieren 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de-DE" sz="900" b="0" dirty="0">
                <a:solidFill>
                  <a:schemeClr val="tx1"/>
                </a:solidFill>
                <a:latin typeface="+mn-lt"/>
              </a:rPr>
              <a:t>Verwenden Sie diese Funktion, </a:t>
            </a:r>
            <a:br>
              <a:rPr lang="de-DE" sz="900" b="0" dirty="0">
                <a:solidFill>
                  <a:schemeClr val="tx1"/>
                </a:solidFill>
                <a:latin typeface="+mn-lt"/>
              </a:rPr>
            </a:br>
            <a:r>
              <a:rPr lang="de-DE" sz="900" b="0" dirty="0">
                <a:solidFill>
                  <a:schemeClr val="tx1"/>
                </a:solidFill>
                <a:latin typeface="+mn-lt"/>
              </a:rPr>
              <a:t>um Boxen zu gruppieren</a:t>
            </a:r>
            <a:endParaRPr lang="en-US" sz="900" b="0" spc="0" dirty="0">
              <a:solidFill>
                <a:prstClr val="black"/>
              </a:solidFill>
              <a:latin typeface="+mn-lt"/>
            </a:endParaRPr>
          </a:p>
        </p:txBody>
      </p: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3F5C2DC-D770-4E6E-971C-FAF86CC528C0}"/>
              </a:ext>
            </a:extLst>
          </p:cNvPr>
          <p:cNvCxnSpPr>
            <a:cxnSpLocks/>
            <a:stCxn id="52" idx="3"/>
            <a:endCxn id="56" idx="1"/>
          </p:cNvCxnSpPr>
          <p:nvPr/>
        </p:nvCxnSpPr>
        <p:spPr>
          <a:xfrm>
            <a:off x="2252295" y="5686086"/>
            <a:ext cx="480565" cy="11252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3C94470C-5DE4-4787-8440-BCDAA60B8218}"/>
              </a:ext>
            </a:extLst>
          </p:cNvPr>
          <p:cNvCxnSpPr>
            <a:cxnSpLocks/>
          </p:cNvCxnSpPr>
          <p:nvPr/>
        </p:nvCxnSpPr>
        <p:spPr>
          <a:xfrm>
            <a:off x="8146161" y="5152778"/>
            <a:ext cx="154061" cy="0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ruta 57">
            <a:extLst>
              <a:ext uri="{FF2B5EF4-FFF2-40B4-BE49-F238E27FC236}">
                <a16:creationId xmlns:a16="http://schemas.microsoft.com/office/drawing/2014/main" id="{4CFD5C33-75F6-479C-9886-56A6D8745EF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419943" y="4055867"/>
            <a:ext cx="1887998" cy="746064"/>
          </a:xfrm>
          <a:prstGeom prst="rect">
            <a:avLst/>
          </a:prstGeom>
          <a:noFill/>
        </p:spPr>
        <p:txBody>
          <a:bodyPr wrap="square" lIns="72000" tIns="0" rIns="0" bIns="0" numCol="1" spcCol="18000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r>
              <a:rPr lang="de-DE" sz="900" dirty="0">
                <a:latin typeface="+mj-lt"/>
              </a:rPr>
              <a:t>Spalten</a:t>
            </a:r>
          </a:p>
          <a:p>
            <a:r>
              <a:rPr lang="de-DE" sz="900" dirty="0"/>
              <a:t>Längere Texte sind leichter zu lesen, wenn sie in Spalten angeordnet sind. </a:t>
            </a:r>
          </a:p>
          <a:p>
            <a:endParaRPr lang="de-DE" sz="900" dirty="0"/>
          </a:p>
          <a:p>
            <a:r>
              <a:rPr lang="de-DE" sz="900" dirty="0"/>
              <a:t>Außerdem passt dadurch oft mehr Text in den verfügbaren Platz.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34D56E1-293B-4C87-A37B-3539736878E7}"/>
              </a:ext>
            </a:extLst>
          </p:cNvPr>
          <p:cNvGrpSpPr/>
          <p:nvPr/>
        </p:nvGrpSpPr>
        <p:grpSpPr>
          <a:xfrm>
            <a:off x="9479154" y="4969496"/>
            <a:ext cx="1096125" cy="685078"/>
            <a:chOff x="10449630" y="5768129"/>
            <a:chExt cx="1386603" cy="866627"/>
          </a:xfrm>
        </p:grpSpPr>
        <p:pic>
          <p:nvPicPr>
            <p:cNvPr id="44" name="Picture 29">
              <a:extLst>
                <a:ext uri="{FF2B5EF4-FFF2-40B4-BE49-F238E27FC236}">
                  <a16:creationId xmlns:a16="http://schemas.microsoft.com/office/drawing/2014/main" id="{AEE325DD-7B7A-43F0-AAE2-56E760177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49630" y="5768129"/>
              <a:ext cx="1386603" cy="866627"/>
            </a:xfrm>
            <a:prstGeom prst="rect">
              <a:avLst/>
            </a:prstGeom>
          </p:spPr>
        </p:pic>
        <p:sp>
          <p:nvSpPr>
            <p:cNvPr id="45" name="Rektangel 21">
              <a:extLst>
                <a:ext uri="{FF2B5EF4-FFF2-40B4-BE49-F238E27FC236}">
                  <a16:creationId xmlns:a16="http://schemas.microsoft.com/office/drawing/2014/main" id="{06B72CC5-D4A8-4C5F-BF59-4441C5836A2F}"/>
                </a:ext>
              </a:extLst>
            </p:cNvPr>
            <p:cNvSpPr/>
            <p:nvPr/>
          </p:nvSpPr>
          <p:spPr>
            <a:xfrm>
              <a:off x="10460426" y="6013573"/>
              <a:ext cx="1130992" cy="385693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</a:pPr>
              <a:endParaRPr lang="de-DE" sz="1500" spc="4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47" name="Verbinder: gewinkelt 14">
            <a:extLst>
              <a:ext uri="{FF2B5EF4-FFF2-40B4-BE49-F238E27FC236}">
                <a16:creationId xmlns:a16="http://schemas.microsoft.com/office/drawing/2014/main" id="{A8283EE2-2FB7-4741-B092-3528E240AD51}"/>
              </a:ext>
            </a:extLst>
          </p:cNvPr>
          <p:cNvCxnSpPr>
            <a:cxnSpLocks/>
            <a:stCxn id="51" idx="3"/>
            <a:endCxn id="41" idx="1"/>
          </p:cNvCxnSpPr>
          <p:nvPr/>
        </p:nvCxnSpPr>
        <p:spPr>
          <a:xfrm flipV="1">
            <a:off x="9190015" y="4428899"/>
            <a:ext cx="229928" cy="161984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63">
            <a:extLst>
              <a:ext uri="{FF2B5EF4-FFF2-40B4-BE49-F238E27FC236}">
                <a16:creationId xmlns:a16="http://schemas.microsoft.com/office/drawing/2014/main" id="{038F4D50-5AFC-4D59-B358-ACBD4761561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611557" y="4784241"/>
            <a:ext cx="382927" cy="294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1" name="Rektangel 21">
            <a:extLst>
              <a:ext uri="{FF2B5EF4-FFF2-40B4-BE49-F238E27FC236}">
                <a16:creationId xmlns:a16="http://schemas.microsoft.com/office/drawing/2014/main" id="{1C99A219-F0D4-4F11-82DD-7732A1B75A5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7976371" y="5972138"/>
            <a:ext cx="1213644" cy="153204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D4DE13C7-BF46-4F16-840A-C74C9DC2CD59}"/>
              </a:ext>
            </a:extLst>
          </p:cNvPr>
          <p:cNvPicPr>
            <a:picLocks noChangeAspect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5" r="5827"/>
          <a:stretch/>
        </p:blipFill>
        <p:spPr>
          <a:xfrm>
            <a:off x="2776366" y="5544803"/>
            <a:ext cx="1183431" cy="656369"/>
          </a:xfrm>
          <a:prstGeom prst="rect">
            <a:avLst/>
          </a:prstGeom>
        </p:spPr>
      </p:pic>
      <p:sp>
        <p:nvSpPr>
          <p:cNvPr id="56" name="Rektangel 21">
            <a:extLst>
              <a:ext uri="{FF2B5EF4-FFF2-40B4-BE49-F238E27FC236}">
                <a16:creationId xmlns:a16="http://schemas.microsoft.com/office/drawing/2014/main" id="{DCBF76B5-7CDD-423F-9F9F-46F0D0CE0AE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2732860" y="5542592"/>
            <a:ext cx="1190622" cy="512039"/>
          </a:xfrm>
          <a:prstGeom prst="rect">
            <a:avLst/>
          </a:prstGeom>
          <a:solidFill>
            <a:schemeClr val="tx2"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de-DE" sz="1500" spc="40" dirty="0">
              <a:solidFill>
                <a:schemeClr val="tx1"/>
              </a:solidFill>
            </a:endParaRPr>
          </a:p>
        </p:txBody>
      </p:sp>
      <p:sp>
        <p:nvSpPr>
          <p:cNvPr id="58" name="Textfeld 56">
            <a:extLst>
              <a:ext uri="{FF2B5EF4-FFF2-40B4-BE49-F238E27FC236}">
                <a16:creationId xmlns:a16="http://schemas.microsoft.com/office/drawing/2014/main" id="{107FBA98-A3BB-4A69-88CF-CE5F00806824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6314931" y="5792843"/>
            <a:ext cx="1339098" cy="3877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latin typeface="+mj-lt"/>
              </a:rPr>
              <a:t>Text in Form umbrechen </a:t>
            </a:r>
            <a:r>
              <a:rPr lang="de-DE" sz="900" dirty="0"/>
              <a:t>ist manchmal nicht sinnvoll</a:t>
            </a:r>
          </a:p>
        </p:txBody>
      </p:sp>
      <p:cxnSp>
        <p:nvCxnSpPr>
          <p:cNvPr id="37" name="Rak 42">
            <a:extLst>
              <a:ext uri="{FF2B5EF4-FFF2-40B4-BE49-F238E27FC236}">
                <a16:creationId xmlns:a16="http://schemas.microsoft.com/office/drawing/2014/main" id="{C3C74C5F-C9A3-4559-45C6-4F5B1ACBCA68}"/>
              </a:ext>
            </a:extLst>
          </p:cNvPr>
          <p:cNvCxnSpPr>
            <a:cxnSpLocks/>
          </p:cNvCxnSpPr>
          <p:nvPr/>
        </p:nvCxnSpPr>
        <p:spPr>
          <a:xfrm>
            <a:off x="7815200" y="2060847"/>
            <a:ext cx="0" cy="15403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ak 42">
            <a:extLst>
              <a:ext uri="{FF2B5EF4-FFF2-40B4-BE49-F238E27FC236}">
                <a16:creationId xmlns:a16="http://schemas.microsoft.com/office/drawing/2014/main" id="{35FF43DF-BA53-5A2F-5539-7E787D5CD54E}"/>
              </a:ext>
            </a:extLst>
          </p:cNvPr>
          <p:cNvCxnSpPr>
            <a:cxnSpLocks/>
          </p:cNvCxnSpPr>
          <p:nvPr/>
        </p:nvCxnSpPr>
        <p:spPr>
          <a:xfrm flipH="1">
            <a:off x="4907868" y="3861048"/>
            <a:ext cx="6876145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65DC422D-D554-818A-F494-577DBA5D84CC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51676"/>
          <a:stretch/>
        </p:blipFill>
        <p:spPr>
          <a:xfrm>
            <a:off x="6361834" y="2854115"/>
            <a:ext cx="1021050" cy="950813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AAB9E4E-FEA6-4282-9D07-E74D99D42708}"/>
              </a:ext>
            </a:extLst>
          </p:cNvPr>
          <p:cNvCxnSpPr>
            <a:cxnSpLocks/>
          </p:cNvCxnSpPr>
          <p:nvPr/>
        </p:nvCxnSpPr>
        <p:spPr>
          <a:xfrm>
            <a:off x="6360411" y="2921214"/>
            <a:ext cx="1061682" cy="8470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A51008-B419-5413-4088-0B529185C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220257-FB4E-9B21-E6DF-D46D0261F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7278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iMZE6sdUFDmJA+lDnZ9uMEAAAAAAADAAAAAAADAAAAAwADAAEA////////BQAAAAMAEAALaSTTjaBlu0G0RP1T1as6sQQAAAABAAMAAAACAAMAAAAEAAQAAQD///////8FAAAABAAQAAtxhjm3vBBZTJzV5daTyVJ/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GIxkTqx1QUOYkD6UOdn24wNEYXRhABsAAAAETGlua2VkU2hhcGVEYXRhAAUAAAAAAAJOYW1lABkAAABMaW5rZWRTaGFwZXNEYXRhUHJvcGVydHkAEFZlcnNpb24AAAAAAAlMYXN0V3JpdGUAxV9qQo4BAAAAAQD/////gwCDAAAABV9pZAAQAAAABGkk042gZbtBtET9U9WrOrEDRGF0YQAbAAAABExpbmtlZFNoYXBlRGF0YQAFAAAAAAACTmFtZQAZAAAATGlua2VkU2hhcGVzRGF0YVByb3BlcnR5ABBWZXJzaW9uAAEAAAAJTGFzdFdyaXRlAA1gakKOAQAAAAIA/////8YAxgAAAAVfaWQAEAAAAARxhjm3vBBZTJzV5daTyVJ/A0RhdGEAUwAAAAhQcmVzZW50YXRpb25TY2FubmVkRm9yTGlua2VkU2hhcGVzAAACTnVtYmVyRm9ybWF0U2VwYXJhdG9yTW9kZQAKAAAAQXV0b21hdGljAAACTmFtZQAkAAAATGlua2VkU2hhcGVQcmVzZW50YXRpb25TZXR0aW5nc0RhdGEAEFZlcnNpb24AAAAAAAlMYXN0V3JpdGUAGGBqQ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QBAwAAAAQA////////JQAGTGlua2VkU2hhcGVQcmVzZW50YXRpb25TZXR0aW5nc0RhdGFfMAQAAAACAAUAAAAAAAUAAAACAAUAAAAAAAUAAAADAA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1080516755554"/>
  <p:tag name="EMPOWERCHARTSPROPERTIES_A_LENGTH" val="24576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8NtLEvC5kNHkf21J7kGou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NtLEvC5kNHkf21J7kGou8DRGF0YQAWAAAAAlBlcnNvbmFsSWQAAQAAAAAAAk5hbWUACwAAAFBlcnNvbmFsSWQAEFZlcnNpb24AAAAAAAlMYXN0V3JpdGUARPt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71746791"/>
  <p:tag name="EMPOWERCHARTSPROPERTIES_A_LENGTH" val="24576"/>
  <p:tag name="RUNTIME_ID" val="a31b9aec-638c-4fd1-b816-b650d28ec99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n6m6R53+JMie6MctTIX9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6m6R53+JMie6MctTIX94DRGF0YQAWAAAAAlBlcnNvbmFsSWQAAQAAAAAAAk5hbWUACwAAAFBlcnNvbmFsSWQAEFZlcnNpb24AAAAAAAlMYXN0V3JpdGUAAw1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5852792"/>
  <p:tag name="EMPOWERCHARTSPROPERTIES_A_LENGTH" val="24576"/>
  <p:tag name="RUNTIME_ID" val="ef018997-e090-4943-9fea-3c2e6c83a85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/iieHUuItZOnNfuR7KS/Js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iieHUuItZOnNfuR7KS/JsDRGF0YQAWAAAAAlBlcnNvbmFsSWQAAQAAAAAAAk5hbWUACwAAAFBlcnNvbmFsSWQAEFZlcnNpb24AAAAAAAlMYXN0V3JpdGUABwx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3321204"/>
  <p:tag name="EMPOWERCHARTSPROPERTIES_A_LENGTH" val="24576"/>
  <p:tag name="RUNTIME_ID" val="832b5184-4326-4883-9b1e-7c0b56c1a1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dZ3SilM3ZPthake2lKEn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dZ3SilM3ZPthake2lKEn8DRGF0YQAWAAAAAlBlcnNvbmFsSWQAAQAAAAAAAk5hbWUACwAAAFBlcnNvbmFsSWQAEFZlcnNpb24AAAAAAAlMYXN0V3JpdGUAgqt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7377127"/>
  <p:tag name="EMPOWERCHARTSPROPERTIES_A_LENGTH" val="24576"/>
  <p:tag name="RUNTIME_ID" val="3a6f771f-21d0-49b5-9922-741a0fbebb5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w/vTrqnRpKuoPc8BFwKi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w/vTrqnRpKuoPc8BFwKiEDRGF0YQAWAAAAAlBlcnNvbmFsSWQAAQAAAAAAAk5hbWUACwAAAFBlcnNvbmFsSWQAEFZlcnNpb24AAAAAAAlMYXN0V3JpdGUAngJ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129742121"/>
  <p:tag name="EMPOWERCHARTSPROPERTIES_A_LENGTH" val="24576"/>
  <p:tag name="RUNTIME_ID" val="32e44bce-c09d-47d7-96de-41f99ad919b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8XpxqAOGEpGlIAZhdw+5Q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XpxqAOGEpGlIAZhdw+5QYDRGF0YQAWAAAAAlBlcnNvbmFsSWQAAQAAAAAAAk5hbWUACwAAAFBlcnNvbmFsSWQAEFZlcnNpb24AAAAAAAlMYXN0V3JpdGUA4AJ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130260731"/>
  <p:tag name="EMPOWERCHARTSPROPERTIES_A_LENGTH" val="24576"/>
  <p:tag name="RUNTIME_ID" val="d94af8ec-0b90-46a4-b550-1ccf188f700c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5OyUbfBf4JBiNFU+cWG4C4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OyUbfBf4JBiNFU+cWG4C4DRGF0YQAWAAAAAlBlcnNvbmFsSWQAAQAAAAAAAk5hbWUACwAAAFBlcnNvbmFsSWQAEFZlcnNpb24AAAAAAAlMYXN0V3JpdGUA7QR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135544855"/>
  <p:tag name="EMPOWERCHARTSPROPERTIES_A_LENGTH" val="24576"/>
  <p:tag name="RUNTIME_ID" val="36d4cc28-07a3-411e-a35b-65c1aa6e18fb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TRbs601lBJmqabZrAAhC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TRbs601lBJmqabZrAAhCUDRGF0YQAWAAAAAlBlcnNvbmFsSWQAAQAAAAAAAk5hbWUACwAAAFBlcnNvbmFsSWQAEFZlcnNpb24AAAAAAAlMYXN0V3JpdGUAxKt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8346325"/>
  <p:tag name="EMPOWERCHARTSPROPERTIES_A_LENGTH" val="24576"/>
  <p:tag name="RUNTIME_ID" val="02c24a28-0c52-4082-be1a-f5993f964ba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YlEuW1CRxNv2rD3Scy7B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YlEuW1CRxNv2rD3Scy7BQDRGF0YQAWAAAAAlBlcnNvbmFsSWQAAQAAAAAAAk5hbWUACwAAAFBlcnNvbmFsSWQAEFZlcnNpb24AAAAAAAlMYXN0V3JpdGUAIa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9014522"/>
  <p:tag name="EMPOWERCHARTSPROPERTIES_A_LENGTH" val="24576"/>
  <p:tag name="RUNTIME_ID" val="58414750-7da4-4a1d-b69f-2220f42b069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ibWzTu0rlKtKU59WEESU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ibWzTu0rlKtKU59WEESU0DRGF0YQAWAAAAAlBlcnNvbmFsSWQAAQAAAAAAAk5hbWUACwAAAFBlcnNvbmFsSWQAEFZlcnNpb24AAAAAAAlMYXN0V3JpdGUAY6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19691324"/>
  <p:tag name="EMPOWERCHARTSPROPERTIES_A_LENGTH" val="24576"/>
  <p:tag name="RUNTIME_ID" val="d8273fa9-d872-4e5e-a5e9-2738ed096a7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1Veclrdb5Gl/20GQuUXK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1Veclrdb5Gl/20GQuUXK0DRGF0YQAWAAAAAlBlcnNvbmFsSWQAAQAAAAAAAk5hbWUACwAAAFBlcnNvbmFsSWQAEFZlcnNpb24AAAAAAAlMYXN0V3JpdGUArq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20441697"/>
  <p:tag name="EMPOWERCHARTSPROPERTIES_A_LENGTH" val="24576"/>
  <p:tag name="RUNTIME_ID" val="a203c62d-cb36-447a-8125-272f91afcac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gk/VC10oJLhW0J6NAMNP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AMAAAAAAAAAAAAACAB////////////////AAAA////////////////BAAAAAIA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CAEDAAAAAgD///////8MAAZQZXJzb25hbElkXzAFAAAAAAAEAAAAAAAEAAAAAQAEAAAAAAD///////8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gk/VC10oJLhW0J6NAMNPsDRGF0YQAWAAAAAlBlcnNvbmFsSWQAAQAAAAAAAk5hbWUACwAAAFBlcnNvbmFsSWQAEFZlcnNpb24AAAAAAAlMYXN0V3JpdGUA9KxT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221071835"/>
  <p:tag name="EMPOWERCHARTSPROPERTIES_A_LENGTH" val="24576"/>
  <p:tag name="RUNTIME_ID" val="5ff0bfaa-29dd-4585-ab46-e538662597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o6rTiobPdJuYzXAg07u54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o6rTiobPdJuYzXAg07u54DRGF0YQAWAAAAAlBlcnNvbmFsSWQAAQAAAAAAAk5hbWUACwAAAFBlcnNvbmFsSWQAEFZlcnNpb24AAAAAAAlMYXN0V3JpdGUA2pR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504063032"/>
  <p:tag name="EMPOWERCHARTSPROPERTIES_A_LENGTH" val="24576"/>
  <p:tag name="RUNTIME_ID" val="4efc5c4f-6dd6-4a76-8b38-8436ea49992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Mcj2KPR9xBk+AdwMFivV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Mcj2KPR9xBk+AdwMFivVkDRGF0YQAWAAAAAlBlcnNvbmFsSWQAAQAAAAAAAk5hbWUACwAAAFBlcnNvbmFsSWQAEFZlcnNpb24AAAAAAAlMYXN0V3JpdGUAY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2702036"/>
  <p:tag name="EMPOWERCHARTSPROPERTIES_A_LENGTH" val="24576"/>
  <p:tag name="RUNTIME_ID" val="318582b6-5f3d-49cb-8251-1fa2be37f05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Dcv8S3xEJJhh3IxqnhdN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Dcv8S3xEJJhh3IxqnhdN8DRGF0YQAWAAAAAlBlcnNvbmFsSWQAAQAAAAAAAk5hbWUACwAAAFBlcnNvbmFsSWQAEFZlcnNpb24AAAAAAAlMYXN0V3JpdGUAo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3368785"/>
  <p:tag name="EMPOWERCHARTSPROPERTIES_A_LENGTH" val="24576"/>
  <p:tag name="RUNTIME_ID" val="0c298071-a153-4282-ae4a-494bf4c6db5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Mcj2KPR9xBk+AdwMFivV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Mcj2KPR9xBk+AdwMFivVkDRGF0YQAWAAAAAlBlcnNvbmFsSWQAAQAAAAAAAk5hbWUACwAAAFBlcnNvbmFsSWQAEFZlcnNpb24AAAAAAAlMYXN0V3JpdGUAY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2702036"/>
  <p:tag name="EMPOWERCHARTSPROPERTIES_A_LENGTH" val="24576"/>
  <p:tag name="RUNTIME_ID" val="259af333-2562-442d-9833-3ccb4706ef3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Dcv8S3xEJJhh3IxqnhdN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Dcv8S3xEJJhh3IxqnhdN8DRGF0YQAWAAAAAlBlcnNvbmFsSWQAAQAAAAAAAk5hbWUACwAAAFBlcnNvbmFsSWQAEFZlcnNpb24AAAAAAAlMYXN0V3JpdGUAo2lS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1393368785"/>
  <p:tag name="EMPOWERCHARTSPROPERTIES_A_LENGTH" val="24576"/>
  <p:tag name="RUNTIME_ID" val="67562305-df16-42e2-9609-7d241c29049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P8qAnwPTtFuFd7GDoBgL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P8qAnwPTtFuFd7GDoBgLUDRGF0YQAWAAAAAlBlcnNvbmFsSWQAAQAAAAAAAk5hbWUACwAAAFBlcnNvbmFsSWQAEFZlcnNpb24AAAAAAAlMYXN0V3JpdGUAzEtU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627774574"/>
  <p:tag name="EMPOWERCHARTSPROPERTIES_A_LENGTH" val="24576"/>
  <p:tag name="RUNTIME_ID" val="6154e9b8-7162-488b-81a6-3cc5f10ac87f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jsvmrhhrVCuSiYirQKOX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jsvmrhhrVCuSiYirQKOXcDRGF0YQAWAAAAAlBlcnNvbmFsSWQAAQAAAAAAAk5hbWUACwAAAFBlcnNvbmFsSWQAEFZlcnNpb24AAAAAAAlMYXN0V3JpdGUACy1U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549191769"/>
  <p:tag name="EMPOWERCHARTSPROPERTIES_A_LENGTH" val="24576"/>
  <p:tag name="RUNTIME_ID" val="11711346-7027-49ce-a3a7-5ed6698ca4b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5T/IBNlMBFkgbRG57ySk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5T/IBNlMBFkgbRG57ySk4DRGF0YQAWAAAAAlBlcnNvbmFsSWQAAQAAAAAAAk5hbWUACwAAAFBlcnNvbmFsSWQAEFZlcnNpb24AAAAAAAlMYXN0V3JpdGUAVy1U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2549740305"/>
  <p:tag name="EMPOWERCHARTSPROPERTIES_A_LENGTH" val="24576"/>
  <p:tag name="RUNTIME_ID" val="1e85b17e-cdf5-4c1f-ae0d-3eb0db76463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9gkZu0ibJNn2Obx32KVp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9gkZu0ibJNn2Obx32KVpADRGF0YQAWAAAAAlBlcnNvbmFsSWQAAQAAAAAAAk5hbWUACwAAAFBlcnNvbmFsSWQAEFZlcnNpb24AAAAAAAlMYXN0V3JpdGUAz1R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7663122"/>
  <p:tag name="EMPOWERCHARTSPROPERTIES_A_LENGTH" val="24576"/>
  <p:tag name="RUNTIME_ID" val="b99106c8-b6bb-4529-b109-7c750e2eb68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DSCWVGkshEmFJjCXE4XE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DSCWVGkshEmFJjCXE4XEsDRGF0YQAWAAAAAlBlcnNvbmFsSWQAAQAAAAAAAk5hbWUACwAAAFBlcnNvbmFsSWQAEFZlcnNpb24AAAAAAAlMYXN0V3JpdGUADl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8241885"/>
  <p:tag name="EMPOWERCHARTSPROPERTIES_A_LENGTH" val="24576"/>
  <p:tag name="RUNTIME_ID" val="e27ea8a9-fa3b-4e36-895a-8fa4193fee8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E7x/1S5atEvpoBg7Q0eS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E7x/1S5atEvpoBg7Q0eSMDRGF0YQAWAAAAAlBlcnNvbmFsSWQAAQAAAAAAAk5hbWUACwAAAFBlcnNvbmFsSWQAEFZlcnNpb24AAAAAAAlMYXN0V3JpdGUATF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8840283"/>
  <p:tag name="EMPOWERCHARTSPROPERTIES_A_LENGTH" val="24576"/>
  <p:tag name="RUNTIME_ID" val="56053f22-5129-4923-a672-1be6455089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0mioZXarj9IndWsryQjB2s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mioZXarj9IndWsryQjB2sDRGF0YQAWAAAAAlBlcnNvbmFsSWQAAQAAAAAAAk5hbWUACwAAAFBlcnNvbmFsSWQAEFZlcnNpb24AAAAAAAlMYXN0V3JpdGUAhV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29414619"/>
  <p:tag name="EMPOWERCHARTSPROPERTIES_A_LENGTH" val="24576"/>
  <p:tag name="RUNTIME_ID" val="9e1b1be7-077a-4aab-a199-a0ddc2236fb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O0mmqn5z5MhUokUZCt4X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O0mmqn5z5MhUokUZCt4XQDRGF0YQAWAAAAAlBlcnNvbmFsSWQAAQAAAAAAAk5hbWUACwAAAFBlcnNvbmFsSWQAEFZlcnNpb24AAAAAAAlMYXN0V3JpdGUAyFV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1124773"/>
  <p:tag name="EMPOWERCHARTSPROPERTIES_A_LENGTH" val="24576"/>
  <p:tag name="RUNTIME_ID" val="308f6c51-dd38-4021-9250-b251338fc15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9TsZA+O/NdIgS7NODAXjPM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TsZA+O/NdIgS7NODAXjPMDRGF0YQAWAAAAAlBlcnNvbmFsSWQAAQAAAAAAAk5hbWUACwAAAFBlcnNvbmFsSWQAEFZlcnNpb24AAAAAAAlMYXN0V3JpdGUAiMJa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6863892301"/>
  <p:tag name="EMPOWERCHARTSPROPERTIES_A_LENGTH" val="24576"/>
  <p:tag name="RUNTIME_ID" val="16c2be89-a3fb-4d7f-bb99-e3188b52e5e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L3Bu3CN3VHu1ab7spK1d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L3Bu3CN3VHu1ab7spK1dYDRGF0YQAWAAAAAlBlcnNvbmFsSWQAAQAAAAAAAk5hbWUACwAAAFBlcnNvbmFsSWQAEFZlcnNpb24AAAAAAAlMYXN0V3JpdGUAsVZ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2457060"/>
  <p:tag name="EMPOWERCHARTSPROPERTIES_A_LENGTH" val="24576"/>
  <p:tag name="RUNTIME_ID" val="f0ca0403-3a21-47fc-8d27-b641ef8f634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4J7mtAy3NLpsZONX6zLS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4J7mtAy3NLpsZONX6zLSEDRGF0YQAWAAAAAlBlcnNvbmFsSWQAAQAAAAAAAk5hbWUACwAAAFBlcnNvbmFsSWQAEFZlcnNpb24AAAAAAAlMYXN0V3JpdGUA8VZ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3215092"/>
  <p:tag name="EMPOWERCHARTSPROPERTIES_A_LENGTH" val="24576"/>
  <p:tag name="RUNTIME_ID" val="349e3d62-1b3e-4b87-bd34-2d9f0892342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91edk7AktItgSvXIVg3j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91edk7AktItgSvXIVg3j8DRGF0YQAWAAAAAlBlcnNvbmFsSWQAAQAAAAAAAk5hbWUACwAAAFBlcnNvbmFsSWQAEFZlcnNpb24AAAAAAAlMYXN0V3JpdGUARFd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3891583"/>
  <p:tag name="EMPOWERCHARTSPROPERTIES_A_LENGTH" val="24576"/>
  <p:tag name="RUNTIME_ID" val="52e14d44-3eaf-40bb-b937-25bf46cc5e4f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z8kPhmcXhEr7Aveg8C0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z8kPhmcXhEr7Aveg8C0OEDRGF0YQAWAAAAAlBlcnNvbmFsSWQAAQAAAAAAAk5hbWUACwAAAFBlcnNvbmFsSWQAEFZlcnNpb24AAAAAAAlMYXN0V3JpdGUAgFd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4579733"/>
  <p:tag name="EMPOWERCHARTSPROPERTIES_A_LENGTH" val="24576"/>
  <p:tag name="RUNTIME_ID" val="53f9be79-8a2d-4f04-892c-d32dac42bf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UVUrsXIIZIkibSIV7pro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UVUrsXIIZIkibSIV7progDRGF0YQAWAAAAAlBlcnNvbmFsSWQAAQAAAAAAAk5hbWUACwAAAFBlcnNvbmFsSWQAEFZlcnNpb24AAAAAAAlMYXN0V3JpdGUAxVdZ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5935178131"/>
  <p:tag name="EMPOWERCHARTSPROPERTIES_A_LENGTH" val="24576"/>
  <p:tag name="RUNTIME_ID" val="58ad1b99-37f0-42a7-a070-b401be1a1c4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gxfomCm41Dnx/ef0wJNl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gxfomCm41Dnx/ef0wJNlwDRGF0YQAWAAAAAlBlcnNvbmFsSWQAAQAAAAAAAk5hbWUACwAAAFBlcnNvbmFsSWQAEFZlcnNpb24AAAAAAAlMYXN0V3JpdGUAPDN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118449916"/>
  <p:tag name="EMPOWERCHARTSPROPERTIES_A_LENGTH" val="24576"/>
  <p:tag name="RUNTIME_ID" val="636d94f9-dbb8-4a67-8006-7d2cb27f4b4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NMlpYX3pVLhvTX4ItZNk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NMlpYX3pVLhvTX4ItZNkwDRGF0YQAWAAAAAlBlcnNvbmFsSWQAAQAAAAAAAk5hbWUACwAAAFBlcnNvbmFsSWQAEFZlcnNpb24AAAAAAAlMYXN0V3JpdGUAmzN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119371962"/>
  <p:tag name="EMPOWERCHARTSPROPERTIES_A_LENGTH" val="24576"/>
  <p:tag name="RUNTIME_ID" val="3f304ce4-5662-42b9-90dc-e097c785c21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IMHyetljpIibM9QkqKP0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IMHyetljpIibM9QkqKP0ADRGF0YQAWAAAAAlBlcnNvbmFsSWQAAQAAAAAAAk5hbWUACwAAAFBlcnNvbmFsSWQAEFZlcnNpb24AAAAAAAlMYXN0V3JpdGUAOiF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72280833"/>
  <p:tag name="EMPOWERCHARTSPROPERTIES_A_LENGTH" val="24576"/>
  <p:tag name="RUNTIME_ID" val="65ab79c8-37d7-4803-9470-25c5f6d3ace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wOdtv6Gk5Frq0/XQ1IKE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wOdtv6Gk5Frq0/XQ1IKEMDRGF0YQAWAAAAAlBlcnNvbmFsSWQAAQAAAAAAAk5hbWUACwAAAFBlcnNvbmFsSWQAEFZlcnNpb24AAAAAAAlMYXN0V3JpdGUAExt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56563447"/>
  <p:tag name="EMPOWERCHARTSPROPERTIES_A_LENGTH" val="24576"/>
  <p:tag name="RUNTIME_ID" val="1888acb5-22a7-477c-9a96-c510cbe5b25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JnV3Pi1nZNtqKwpV8cMq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JnV3Pi1nZNtqKwpV8cMqsDRGF0YQAWAAAAAlBlcnNvbmFsSWQAAQAAAAAAAk5hbWUACwAAAFBlcnNvbmFsSWQAEFZlcnNpb24AAAAAAAlMYXN0V3JpdGUAwxd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48117259"/>
  <p:tag name="EMPOWERCHARTSPROPERTIES_A_LENGTH" val="24576"/>
  <p:tag name="RUNTIME_ID" val="6b21d937-70be-4bf9-8d08-53fd3379f08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UFCS1dNjlBtFnlw3PtqV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UFCS1dNjlBtFnlw3PtqV0DRGF0YQAWAAAAAlBlcnNvbmFsSWQAAQAAAAAAAk5hbWUACwAAAFBlcnNvbmFsSWQAEFZlcnNpb24AAAAAAAlMYXN0V3JpdGUAARh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48765520"/>
  <p:tag name="EMPOWERCHARTSPROPERTIES_A_LENGTH" val="24576"/>
  <p:tag name="RUNTIME_ID" val="09e60d5a-3136-4713-bb79-89c4d39eebb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+kjiGnN+VHox4wAjPbJc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+kjiGnN+VHox4wAjPbJc0DRGF0YQAWAAAAAlBlcnNvbmFsSWQAAQAAAAAAAk5hbWUACwAAAFBlcnNvbmFsSWQAEFZlcnNpb24AAAAAAAlMYXN0V3JpdGUAVhhe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89049606052"/>
  <p:tag name="EMPOWERCHARTSPROPERTIES_A_LENGTH" val="24576"/>
  <p:tag name="RUNTIME_ID" val="fff59d6e-6f06-4a29-86b8-c4be4cad549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2M1bpvyS5OuTtK73VHPa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2M1bpvyS5OuTtK73VHPaADRGF0YQAWAAAAAlBlcnNvbmFsSWQAAQAAAAAAAk5hbWUACwAAAFBlcnNvbmFsSWQAEFZlcnNpb24AAAAAAAlMYXN0V3JpdGUAD1Sc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9632492468"/>
  <p:tag name="EMPOWERCHARTSPROPERTIES_A_LENGTH" val="24576"/>
  <p:tag name="RUNTIME_ID" val="f5f281db-55c7-41e9-873f-6a644efb2ff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G/6TxXA1JKreuLDVaTaL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G/6TxXA1JKreuLDVaTaLUDRGF0YQAWAAAAAlBlcnNvbmFsSWQAAQAAAAAAAk5hbWUACwAAAFBlcnNvbmFsSWQAEFZlcnNpb24AAAAAAAlMYXN0V3JpdGUAUVWc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9635794228"/>
  <p:tag name="EMPOWERCHARTSPROPERTIES_A_LENGTH" val="24576"/>
  <p:tag name="RUNTIME_ID" val="ba41871c-f311-48ee-bf4c-f936b42801cb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JnSoCtjjFKhMT3dXjfgS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JnSoCtjjFKhMT3dXjfgSgDRGF0YQAWAAAAAlBlcnNvbmFsSWQAAQAAAAAAAk5hbWUACwAAAFBlcnNvbmFsSWQAEFZlcnNpb24AAAAAAAlMYXN0V3JpdGUAB1mc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9645238307"/>
  <p:tag name="EMPOWERCHARTSPROPERTIES_A_LENGTH" val="24576"/>
  <p:tag name="RUNTIME_ID" val="46cf848f-21c1-4cd6-9a84-f2498679300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AR7bVlwWpFpjWOjGaS7BM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AR7bVlwWpFpjWOjGaS7BMDRGF0YQAWAAAAAlBlcnNvbmFsSWQAAQAAAAAAAk5hbWUACwAAAFBlcnNvbmFsSWQAEFZlcnNpb24AAAAAAAlMYXN0V3JpdGUAevN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2969453"/>
  <p:tag name="EMPOWERCHARTSPROPERTIES_A_LENGTH" val="24576"/>
  <p:tag name="RUNTIME_ID" val="fc1aeeaa-44c2-4e35-b7cc-0b9edd18e0dc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Fz+P2YJBNPmVpOURtiQq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Fz+P2YJBNPmVpOURtiQq0DRGF0YQAWAAAAAlBlcnNvbmFsSWQAAQAAAAAAAk5hbWUACwAAAFBlcnNvbmFsSWQAEFZlcnNpb24AAAAAAAlMYXN0V3JpdGUAx/N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3538300"/>
  <p:tag name="EMPOWERCHARTSPROPERTIES_A_LENGTH" val="24576"/>
  <p:tag name="RUNTIME_ID" val="d5f5f5e0-80a3-40f2-99d4-3a2e4b95a7cb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0QoXRW8jtpKkIOJ0lWrgeE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QoXRW8jtpKkIOJ0lWrgeEDRGF0YQAWAAAAAlBlcnNvbmFsSWQAAQAAAAAAAk5hbWUACwAAAFBlcnNvbmFsSWQAEFZlcnNpb24AAAAAAAlMYXN0V3JpdGUA0sJ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418254604"/>
  <p:tag name="EMPOWERCHARTSPROPERTIES_A_LENGTH" val="24576"/>
  <p:tag name="RUNTIME_ID" val="12d01f2d-0cd0-41bc-812f-9677486760f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fUNky1gEpKq+FbUJCQbh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fUNky1gEpKq+FbUJCQbhsDRGF0YQAWAAAAAlBlcnNvbmFsSWQAAQAAAAAAAk5hbWUACwAAAFBlcnNvbmFsSWQAEFZlcnNpb24AAAAAAAlMYXN0V3JpdGUA6dZ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469559700"/>
  <p:tag name="EMPOWERCHARTSPROPERTIES_A_LENGTH" val="24576"/>
  <p:tag name="RUNTIME_ID" val="2bf1316a-daee-40ec-805c-59634833812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rh5t7f9iNBumZwwpdfeZ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rh5t7f9iNBumZwwpdfeZ0DRGF0YQAWAAAAAlBlcnNvbmFsSWQAAQAAAAAAAk5hbWUACwAAAFBlcnNvbmFsSWQAEFZlcnNpb24AAAAAAAlMYXN0V3JpdGUABP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4136292"/>
  <p:tag name="EMPOWERCHARTSPROPERTIES_A_LENGTH" val="24576"/>
  <p:tag name="RUNTIME_ID" val="80cc1dfb-6111-491f-a381-d5a429f7ca8c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bs/g/95MpMoeNO8rApw4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bs/g/95MpMoeNO8rApw4UDRGF0YQAWAAAAAlBlcnNvbmFsSWQAAQAAAAAAAk5hbWUACwAAAFBlcnNvbmFsSWQAEFZlcnNpb24AAAAAAAlMYXN0V3JpdGUAP/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5054229"/>
  <p:tag name="EMPOWERCHARTSPROPERTIES_A_LENGTH" val="24576"/>
  <p:tag name="RUNTIME_ID" val="464904fa-2d43-4089-a98f-eb0e92a2cf3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OZltK3/BRLgMWUTXHyF+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OZltK3/BRLgMWUTXHyF+0DRGF0YQAWAAAAAlBlcnNvbmFsSWQAAQAAAAAAAk5hbWUACwAAAFBlcnNvbmFsSWQAEFZlcnNpb24AAAAAAAlMYXN0V3JpdGUAm/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5660174"/>
  <p:tag name="EMPOWERCHARTSPROPERTIES_A_LENGTH" val="24576"/>
  <p:tag name="RUNTIME_ID" val="1f5d9aaa-0d1e-4f01-87ed-5761e01c14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zDZYCq3ENKgGTa/2efKk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zDZYCq3ENKgGTa/2efKkgDRGF0YQAWAAAAAlBlcnNvbmFsSWQAAQAAAAAAAk5hbWUACwAAAFBlcnNvbmFsSWQAEFZlcnNpb24AAAAAAAlMYXN0V3JpdGUA3PR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6298861"/>
  <p:tag name="EMPOWERCHARTSPROPERTIES_A_LENGTH" val="24576"/>
  <p:tag name="RUNTIME_ID" val="06d889eb-6912-43bd-a5ae-cc3125e1d13f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EGmzn3vEhCicLC/129D0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EGmzn3vEhCicLC/129D0ADRGF0YQAWAAAAAlBlcnNvbmFsSWQAAQAAAAAAAk5hbWUACwAAAFBlcnNvbmFsSWQAEFZlcnNpb24AAAAAAAlMYXN0V3JpdGUAGP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6897228"/>
  <p:tag name="EMPOWERCHARTSPROPERTIES_A_LENGTH" val="24576"/>
  <p:tag name="RUNTIME_ID" val="d63a2246-c13a-4f0e-a447-2b1e549eab1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WYLK4NZ5ZLh8pl7wXvTd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WYLK4NZ5ZLh8pl7wXvTdMDRGF0YQAWAAAAAlBlcnNvbmFsSWQAAQAAAAAAAk5hbWUACwAAAFBlcnNvbmFsSWQAEFZlcnNpb24AAAAAAAlMYXN0V3JpdGUAVf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7555143"/>
  <p:tag name="EMPOWERCHARTSPROPERTIES_A_LENGTH" val="24576"/>
  <p:tag name="RUNTIME_ID" val="efa2dd79-7242-4681-b468-8a2320e2498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EAAAAAAAAAAwAAAAMAAAAA/////wMALAwAAAAAAAAAAAAAIAD///////////////8AAAD////////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IAP///////wQAAAACABAAC4hZ8FrbTdRJnnTl2uSHsIEFAAAAAAADAAAAAAADAAAAAQADAAAAAAD///////8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hZ8FrbTdRJnnTl2uSHsIEDRGF0YQAWAAAAAlBlcnNvbmFsSWQAAQAAAAAAAk5hbWUACwAAAFBlcnNvbmFsSWQAEFZlcnNpb24AAAAAAAlMYXN0V3JpdGUAqf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8357221"/>
  <p:tag name="EMPOWERCHARTSPROPERTIES_A_LENGTH" val="24576"/>
  <p:tag name="RUNTIME_ID" val="5eb49af9-4932-4b68-ad51-7da2e41363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TAsDInLdtFpSh+ZrQYlY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AsDInLdtFpSh+ZrQYlYcDRGF0YQAWAAAAAlBlcnNvbmFsSWQAAQAAAAAAAk5hbWUACwAAAFBlcnNvbmFsSWQAEFZlcnNpb24AAAAAAAlMYXN0V3JpdGUA5vV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8986160"/>
  <p:tag name="EMPOWERCHARTSPROPERTIES_A_LENGTH" val="24576"/>
  <p:tag name="RUNTIME_ID" val="78256c9a-49ba-479d-98db-9033c8a04cd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/////wMAOAw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QAAAACABAACz38IFjc9UtCs85/aypzj9gFAAAAAAADAAAAAAADAAAAAQA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38IFjc9UtCs85/aypzj9gDRGF0YQAWAAAAAlBlcnNvbmFsSWQAAQAAAAAAAk5hbWUACwAAAFBlcnNvbmFsSWQAEFZlcnNpb24AAAAAAAlMYXN0V3JpdGUAKPZk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3549640240"/>
  <p:tag name="EMPOWERCHARTSPROPERTIES_A_LENGTH" val="24576"/>
  <p:tag name="RUNTIME_ID" val="e321e53f-c25d-4bbf-a071-ef805d34789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nJyF0YcBxBgUnL/fS/3b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nJyF0YcBxBgUnL/fS/3b4DRGF0YQAWAAAAAlBlcnNvbmFsSWQAAQAAAAAAAk5hbWUACwAAAFBlcnNvbmFsSWQAEFZlcnNpb24AAAAAAAlMYXN0V3JpdGUAM/d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1522054"/>
  <p:tag name="EMPOWERCHARTSPROPERTIES_A_LENGTH" val="24576"/>
  <p:tag name="RUNTIME_ID" val="e65ddf9c-769a-4112-9524-33430f08812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KlhIvos3VQvTi7y.Xa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MQZWu7JOtHmMYhAYpub0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MQZWu7JOtHmMYhAYpub00DRGF0YQAWAAAAAlBlcnNvbmFsSWQAAQAAAAAAAk5hbWUACwAAAFBlcnNvbmFsSWQAEFZlcnNpb24AAAAAAAlMYXN0V3JpdGUAlvd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2165782"/>
  <p:tag name="EMPOWERCHARTSPROPERTIES_A_LENGTH" val="24576"/>
  <p:tag name="RUNTIME_ID" val="02ce57d5-e727-408b-8898-c5db679ee52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3qYj/KvDA1Do6IK/FXsy38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Yj/KvDA1Do6IK/FXsy38DRGF0YQAWAAAAAlBlcnNvbmFsSWQAAQAAAAAAAk5hbWUACwAAAFBlcnNvbmFsSWQAEFZlcnNpb24AAAAAAAlMYXN0V3JpdGUA5fd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2958128"/>
  <p:tag name="EMPOWERCHARTSPROPERTIES_A_LENGTH" val="24576"/>
  <p:tag name="RUNTIME_ID" val="fc1db2bb-117f-4ca0-8fdc-d7bc4a420d0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J81iCov9dNrKGv6BXMJN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J81iCov9dNrKGv6BXMJNcDRGF0YQAWAAAAAlBlcnNvbmFsSWQAAQAAAAAAAk5hbWUACwAAAFBlcnNvbmFsSWQAEFZlcnNpb24AAAAAAAlMYXN0V3JpdGUAH/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3617035"/>
  <p:tag name="EMPOWERCHARTSPROPERTIES_A_LENGTH" val="24576"/>
  <p:tag name="RUNTIME_ID" val="d5c245fd-2e26-41b5-ac87-ece3e9d918a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VILSeMXWZMvQJaCwGwT3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VILSeMXWZMvQJaCwGwT34DRGF0YQAWAAAAAlBlcnNvbmFsSWQAAQAAAAAAAk5hbWUACwAAAFBlcnNvbmFsSWQAEFZlcnNpb24AAAAAAAlMYXN0V3JpdGUAZP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4295587"/>
  <p:tag name="EMPOWERCHARTSPROPERTIES_A_LENGTH" val="24576"/>
  <p:tag name="RUNTIME_ID" val="1338b5df-4e73-4a32-849c-5b627252ef7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+rxAEWbbBNr1ES5QRivd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+rxAEWbbBNr1ES5QRivdADRGF0YQAWAAAAAlBlcnNvbmFsSWQAAQAAAAAAAk5hbWUACwAAAFBlcnNvbmFsSWQAEFZlcnNpb24AAAAAAAlMYXN0V3JpdGUAqv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4988906"/>
  <p:tag name="EMPOWERCHARTSPROPERTIES_A_LENGTH" val="24576"/>
  <p:tag name="RUNTIME_ID" val="8346e9d1-3a43-45f9-be34-8278d2ef42b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OQ0MMxRilGmj+RUudFyC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OQ0MMxRilGmj+RUudFyC4DRGF0YQAWAAAAAlBlcnNvbmFsSWQAAQAAAAAAAk5hbWUACwAAAFBlcnNvbmFsSWQAEFZlcnNpb24AAAAAAAlMYXN0V3JpdGUA7vh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5706691"/>
  <p:tag name="EMPOWERCHARTSPROPERTIES_A_LENGTH" val="24576"/>
  <p:tag name="RUNTIME_ID" val="d52a009e-9e2d-40f4-8d21-28f81ceaaf4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nZoAX2CB5Ik99nKL37YBY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nZoAX2CB5Ik99nKL37YBYDRGF0YQAWAAAAAlBlcnNvbmFsSWQAAQAAAAAAAk5hbWUACwAAAFBlcnNvbmFsSWQAEFZlcnNpb24AAAAAAAlMYXN0V3JpdGUANvl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6485045"/>
  <p:tag name="EMPOWERCHARTSPROPERTIES_A_LENGTH" val="24576"/>
  <p:tag name="RUNTIME_ID" val="663ea1f7-dce9-439e-8f44-8f457bd938f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+tCAnp3xlDlSL3FP8Z/Y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+tCAnp3xlDlSL3FP8Z/YADRGF0YQAWAAAAAlBlcnNvbmFsSWQAAQAAAAAAAk5hbWUACwAAAFBlcnNvbmFsSWQAEFZlcnNpb24AAAAAAAlMYXN0V3JpdGUABX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3228169"/>
  <p:tag name="EMPOWERCHARTSPROPERTIES_A_LENGTH" val="24576"/>
  <p:tag name="RUNTIME_ID" val="568b37cb-b771-40bf-997f-1fccbe55b9f8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lP1FiCHkRPt06Vm2INAA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wMAAAAAAAAAAAAACAB////////////////AAAA////////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wEDAAAAAgD///////8MAAZQZXJzb25hbElkXzAFAAAAAAAEAAAAAAAEAAAAAQA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lP1FiCHkRPt06Vm2INAAYDRGF0YQAWAAAAAlBlcnNvbmFsSWQAAQAAAAAAAk5hbWUACwAAAFBlcnNvbmFsSWQAEFZlcnNpb24AAAAAAAlMYXN0V3JpdGUAhX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4494976"/>
  <p:tag name="EMPOWERCHARTSPROPERTIES_A_LENGTH" val="24576"/>
  <p:tag name="RUNTIME_ID" val="b34703a2-18b2-4344-b03c-61454307d40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nbHeEfJcJOkvze3yqYFu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nbHeEfJcJOkvze3yqYFuUDRGF0YQAWAAAAAlBlcnNvbmFsSWQAAQAAAAAAAk5hbWUACwAAAFBlcnNvbmFsSWQAEFZlcnNpb24AAAAAAAlMYXN0V3JpdGUAvX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5083764"/>
  <p:tag name="EMPOWERCHARTSPROPERTIES_A_LENGTH" val="24576"/>
  <p:tag name="RUNTIME_ID" val="0e8a513a-15f0-4580-ac19-861acf57f77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7sTW/clhhJlB0FfiGzMp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7sTW/clhhJlB0FfiGzMpIDRGF0YQAWAAAAAlBlcnNvbmFsSWQAAQAAAAAAAk5hbWUACwAAAFBlcnNvbmFsSWQAEFZlcnNpb24AAAAAAAlMYXN0V3JpdGUAiPl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7243487"/>
  <p:tag name="EMPOWERCHARTSPROPERTIES_A_LENGTH" val="24576"/>
  <p:tag name="RUNTIME_ID" val="396aacdf-788e-4247-9cca-f0df55f50f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720yh2y69GowwzEEbHvL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720yh2y69GowwzEEbHvLgDRGF0YQAWAAAAAlBlcnNvbmFsSWQAAQAAAAAAAk5hbWUACwAAAFBlcnNvbmFsSWQAEFZlcnNpb24AAAAAAAlMYXN0V3JpdGUA0/l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7951246"/>
  <p:tag name="EMPOWERCHARTSPROPERTIES_A_LENGTH" val="24576"/>
  <p:tag name="RUNTIME_ID" val="4c91b8c5-7228-4c28-a1df-f0561b47e61b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3jnLBL3KRFqiJC+CrBA3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3jnLBL3KRFqiJC+CrBA3gDRGF0YQAWAAAAAlBlcnNvbmFsSWQAAQAAAAAAAk5hbWUACwAAAFBlcnNvbmFsSWQAEFZlcnNpb24AAAAAAAlMYXN0V3JpdGUAF/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8639403"/>
  <p:tag name="EMPOWERCHARTSPROPERTIES_A_LENGTH" val="24576"/>
  <p:tag name="RUNTIME_ID" val="e7b70e71-fe4f-42c8-863e-336780a8cf1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ZQoGR4T5RDhhr1BRMzeD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ZQoGR4T5RDhhr1BRMzeDcDRGF0YQAWAAAAAlBlcnNvbmFsSWQAAQAAAAAAAk5hbWUACwAAAFBlcnNvbmFsSWQAEFZlcnNpb24AAAAAAAlMYXN0V3JpdGUA+n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5668037"/>
  <p:tag name="EMPOWERCHARTSPROPERTIES_A_LENGTH" val="24576"/>
  <p:tag name="RUNTIME_ID" val="7752b9d0-5eb9-468f-bd26-2ff5650d357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f8b1mzFytOsTK29j3erd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f8b1mzFytOsTK29j3erdQDRGF0YQAWAAAAAlBlcnNvbmFsSWQAAQAAAAAAAk5hbWUACwAAAFBlcnNvbmFsSWQAEFZlcnNpb24AAAAAAAlMYXN0V3JpdGUA8pd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929871172"/>
  <p:tag name="EMPOWERCHARTSPROPERTIES_A_LENGTH" val="24576"/>
  <p:tag name="RUNTIME_ID" val="f9fab934-5e8d-42dd-b899-4b733cdc90b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fNk8dRlrVOl88CdJeMI0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fNk8dRlrVOl88CdJeMI00DRGF0YQAWAAAAAlBlcnNvbmFsSWQAAQAAAAAAAk5hbWUACwAAAFBlcnNvbmFsSWQAEFZlcnNpb24AAAAAAAlMYXN0V3JpdGUAR3p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3856660"/>
  <p:tag name="EMPOWERCHARTSPROPERTIES_A_LENGTH" val="24576"/>
  <p:tag name="RUNTIME_ID" val="77161c35-e321-48b9-a250-b69842f3913c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H4Ttu2LvlHoNvioRdoXp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H4Ttu2LvlHoNvioRdoXpMDRGF0YQAWAAAAAlBlcnNvbmFsSWQAAQAAAAAAAk5hbWUACwAAAFBlcnNvbmFsSWQAEFZlcnNpb24AAAAAAAlMYXN0V3JpdGUARXt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6475512"/>
  <p:tag name="EMPOWERCHARTSPROPERTIES_A_LENGTH" val="24576"/>
  <p:tag name="RUNTIME_ID" val="0a94f19a-6f6e-4021-ba84-229da2cdb42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9JAtz34TNGgAo4TXM6zD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9JAtz34TNGgAo4TXM6zD0DRGF0YQAWAAAAAlBlcnNvbmFsSWQAAQAAAAAAAk5hbWUACwAAAFBlcnNvbmFsSWQAEFZlcnNpb24AAAAAAAlMYXN0V3JpdGUAZf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69447434"/>
  <p:tag name="EMPOWERCHARTSPROPERTIES_A_LENGTH" val="24576"/>
  <p:tag name="RUNTIME_ID" val="1e56b40b-0157-4618-9ace-43d7377f80a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J9chXtNvBNvTx1B8keh1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J9chXtNvBNvTx1B8keh1EDRGF0YQAWAAAAAlBlcnNvbmFsSWQAAQAAAAAAAk5hbWUACwAAAFBlcnNvbmFsSWQAEFZlcnNpb24AAAAAAAlMYXN0V3JpdGUAsP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70225302"/>
  <p:tag name="EMPOWERCHARTSPROPERTIES_A_LENGTH" val="24576"/>
  <p:tag name="RUNTIME_ID" val="8f73e1cc-7f4d-4721-a067-3af3d789a3ab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gsBLk+pilGjmhW2LIvHM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gsBLk+pilGjmhW2LIvHMoDRGF0YQAWAAAAAlBlcnNvbmFsSWQAAQAAAAAAAk5hbWUACwAAAFBlcnNvbmFsSWQAEFZlcnNpb24AAAAAAAlMYXN0V3JpdGUA+/pv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600770948056"/>
  <p:tag name="EMPOWERCHARTSPROPERTIES_A_LENGTH" val="24576"/>
  <p:tag name="RUNTIME_ID" val="4a63c506-202e-4708-b7ad-8f3fd137174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wOFPTVJ8/xFne9grwpqtT0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OFPTVJ8/xFne9grwpqtT0DRGF0YQAWAAAAAlBlcnNvbmFsSWQAAQAAAAAAAk5hbWUACwAAAFBlcnNvbmFsSWQAEFZlcnNpb24AAAAAAAlMYXN0V3JpdGUAjnto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95857164035"/>
  <p:tag name="EMPOWERCHARTSPROPERTIES_A_LENGTH" val="24576"/>
  <p:tag name="RUNTIME_ID" val="ff531378-c6b8-4225-8f43-dbaa20e71845"/>
</p:tagLst>
</file>

<file path=ppt/theme/theme1.xml><?xml version="1.0" encoding="utf-8"?>
<a:theme xmlns:a="http://schemas.openxmlformats.org/drawingml/2006/main" name="DALLMER">
  <a:themeElements>
    <a:clrScheme name="Dallmer">
      <a:dk1>
        <a:sysClr val="windowText" lastClr="000000"/>
      </a:dk1>
      <a:lt1>
        <a:sysClr val="window" lastClr="FFFFFF"/>
      </a:lt1>
      <a:dk2>
        <a:srgbClr val="8DA696"/>
      </a:dk2>
      <a:lt2>
        <a:srgbClr val="D9D9D9"/>
      </a:lt2>
      <a:accent1>
        <a:srgbClr val="009DE0"/>
      </a:accent1>
      <a:accent2>
        <a:srgbClr val="126A89"/>
      </a:accent2>
      <a:accent3>
        <a:srgbClr val="9B9B9A"/>
      </a:accent3>
      <a:accent4>
        <a:srgbClr val="214F31"/>
      </a:accent4>
      <a:accent5>
        <a:srgbClr val="3083A0"/>
      </a:accent5>
      <a:accent6>
        <a:srgbClr val="C8D0C8"/>
      </a:accent6>
      <a:hlink>
        <a:srgbClr val="055975"/>
      </a:hlink>
      <a:folHlink>
        <a:srgbClr val="808080"/>
      </a:folHlink>
    </a:clrScheme>
    <a:fontScheme name="Dallmer">
      <a:majorFont>
        <a:latin typeface="Univers Next Pro Medium Cond"/>
        <a:ea typeface=""/>
        <a:cs typeface=""/>
      </a:majorFont>
      <a:minorFont>
        <a:latin typeface="Univers LT Std 47 Cn L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6</Words>
  <Application>Microsoft Macintosh PowerPoint</Application>
  <PresentationFormat>Breitbild</PresentationFormat>
  <Paragraphs>121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Symbol</vt:lpstr>
      <vt:lpstr>Univers LT Std 47 Cn Lt</vt:lpstr>
      <vt:lpstr>Wingdings 3</vt:lpstr>
      <vt:lpstr>DALLMER</vt:lpstr>
      <vt:lpstr>think-cell Folie</vt:lpstr>
      <vt:lpstr>Kurzanleitung (1/6)</vt:lpstr>
      <vt:lpstr>Kurzanleitung (2/6)</vt:lpstr>
      <vt:lpstr>Kurzanleitung (3/6)</vt:lpstr>
      <vt:lpstr>Kurzanleitung (4/6)</vt:lpstr>
      <vt:lpstr>Kurzanleitung (5/6)</vt:lpstr>
      <vt:lpstr>Kurzanleitung (6/6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hya Shah</dc:creator>
  <cp:lastModifiedBy>Pauline Brisch</cp:lastModifiedBy>
  <cp:revision>33</cp:revision>
  <dcterms:created xsi:type="dcterms:W3CDTF">2024-03-15T14:04:48Z</dcterms:created>
  <dcterms:modified xsi:type="dcterms:W3CDTF">2024-05-21T09:12:35Z</dcterms:modified>
</cp:coreProperties>
</file>